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notesSlides/notesSlide4.xml" ContentType="application/vnd.openxmlformats-officedocument.presentationml.notesSlide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notesSlides/notesSlide5.xml" ContentType="application/vnd.openxmlformats-officedocument.presentationml.notesSlide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notesSlides/notesSlide6.xml" ContentType="application/vnd.openxmlformats-officedocument.presentationml.notesSlide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notesSlides/notesSlide7.xml" ContentType="application/vnd.openxmlformats-officedocument.presentationml.notesSlide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8.xml" ContentType="application/vnd.openxmlformats-officedocument.presentationml.notesSlide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notesSlides/notesSlide9.xml" ContentType="application/vnd.openxmlformats-officedocument.presentationml.notesSlide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notesSlides/notesSlide10.xml" ContentType="application/vnd.openxmlformats-officedocument.presentationml.notesSlide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11.xml" ContentType="application/vnd.openxmlformats-officedocument.presentationml.notesSlide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12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notesSlides/notesSlide13.xml" ContentType="application/vnd.openxmlformats-officedocument.presentationml.notesSlide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notesSlides/notesSlide14.xml" ContentType="application/vnd.openxmlformats-officedocument.presentationml.notesSlide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notesSlides/notesSlide15.xml" ContentType="application/vnd.openxmlformats-officedocument.presentationml.notesSlide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notesSlides/notesSlide16.xml" ContentType="application/vnd.openxmlformats-officedocument.presentationml.notesSlide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notesSlides/notesSlide17.xml" ContentType="application/vnd.openxmlformats-officedocument.presentationml.notesSlide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notesSlides/notesSlide18.xml" ContentType="application/vnd.openxmlformats-officedocument.presentationml.notesSlide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notesSlides/notesSlide19.xml" ContentType="application/vnd.openxmlformats-officedocument.presentationml.notesSlide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notesSlides/notesSlide20.xml" ContentType="application/vnd.openxmlformats-officedocument.presentationml.notesSlide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notesSlides/notesSlide21.xml" ContentType="application/vnd.openxmlformats-officedocument.presentationml.notesSlide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notesSlides/notesSlide22.xml" ContentType="application/vnd.openxmlformats-officedocument.presentationml.notesSlide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notesSlides/notesSlide23.xml" ContentType="application/vnd.openxmlformats-officedocument.presentationml.notesSlide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notesSlides/notesSlide24.xml" ContentType="application/vnd.openxmlformats-officedocument.presentationml.notesSlide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notesSlides/notesSlide25.xml" ContentType="application/vnd.openxmlformats-officedocument.presentationml.notesSlide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notesSlides/notesSlide26.xml" ContentType="application/vnd.openxmlformats-officedocument.presentationml.notesSlide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notesSlides/notesSlide27.xml" ContentType="application/vnd.openxmlformats-officedocument.presentationml.notesSlide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notesSlides/notesSlide28.xml" ContentType="application/vnd.openxmlformats-officedocument.presentationml.notesSlide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notesSlides/notesSlide29.xml" ContentType="application/vnd.openxmlformats-officedocument.presentationml.notesSlide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notesSlides/notesSlide30.xml" ContentType="application/vnd.openxmlformats-officedocument.presentationml.notesSlide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notesSlides/notesSlide31.xml" ContentType="application/vnd.openxmlformats-officedocument.presentationml.notesSlide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notesSlides/notesSlide32.xml" ContentType="application/vnd.openxmlformats-officedocument.presentationml.notesSlide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notesSlides/notesSlide33.xml" ContentType="application/vnd.openxmlformats-officedocument.presentationml.notesSlide+xml"/>
  <Override PartName="/ppt/tags/tag355.xml" ContentType="application/vnd.openxmlformats-officedocument.presentationml.tags+xml"/>
  <Override PartName="/ppt/notesSlides/notesSlide3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8" r:id="rId1"/>
  </p:sldMasterIdLst>
  <p:notesMasterIdLst>
    <p:notesMasterId r:id="rId36"/>
  </p:notesMasterIdLst>
  <p:handoutMasterIdLst>
    <p:handoutMasterId r:id="rId37"/>
  </p:handoutMasterIdLst>
  <p:sldIdLst>
    <p:sldId id="316" r:id="rId2"/>
    <p:sldId id="361" r:id="rId3"/>
    <p:sldId id="356" r:id="rId4"/>
    <p:sldId id="322" r:id="rId5"/>
    <p:sldId id="357" r:id="rId6"/>
    <p:sldId id="371" r:id="rId7"/>
    <p:sldId id="362" r:id="rId8"/>
    <p:sldId id="336" r:id="rId9"/>
    <p:sldId id="339" r:id="rId10"/>
    <p:sldId id="363" r:id="rId11"/>
    <p:sldId id="337" r:id="rId12"/>
    <p:sldId id="333" r:id="rId13"/>
    <p:sldId id="348" r:id="rId14"/>
    <p:sldId id="372" r:id="rId15"/>
    <p:sldId id="338" r:id="rId16"/>
    <p:sldId id="351" r:id="rId17"/>
    <p:sldId id="365" r:id="rId18"/>
    <p:sldId id="366" r:id="rId19"/>
    <p:sldId id="334" r:id="rId20"/>
    <p:sldId id="352" r:id="rId21"/>
    <p:sldId id="367" r:id="rId22"/>
    <p:sldId id="353" r:id="rId23"/>
    <p:sldId id="370" r:id="rId24"/>
    <p:sldId id="354" r:id="rId25"/>
    <p:sldId id="327" r:id="rId26"/>
    <p:sldId id="368" r:id="rId27"/>
    <p:sldId id="342" r:id="rId28"/>
    <p:sldId id="318" r:id="rId29"/>
    <p:sldId id="330" r:id="rId30"/>
    <p:sldId id="355" r:id="rId31"/>
    <p:sldId id="331" r:id="rId32"/>
    <p:sldId id="343" r:id="rId33"/>
    <p:sldId id="373" r:id="rId34"/>
    <p:sldId id="369" r:id="rId35"/>
  </p:sldIdLst>
  <p:sldSz cx="9144000" cy="6858000" type="screen4x3"/>
  <p:notesSz cx="6797675" cy="9926638"/>
  <p:custDataLst>
    <p:tags r:id="rId38"/>
  </p:custDataLst>
  <p:defaultTextStyle>
    <a:defPPr>
      <a:defRPr lang="de-DE"/>
    </a:defPPr>
    <a:lvl1pPr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1pPr>
    <a:lvl2pPr marL="4572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2pPr>
    <a:lvl3pPr marL="9144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3pPr>
    <a:lvl4pPr marL="13716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4pPr>
    <a:lvl5pPr marL="1828800" algn="ctr" defTabSz="457200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ＭＳ Ｐゴシック" pitchFamily="-112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CB6ED"/>
    <a:srgbClr val="00CC00"/>
    <a:srgbClr val="3333FF"/>
    <a:srgbClr val="008000"/>
    <a:srgbClr val="0066FF"/>
    <a:srgbClr val="996633"/>
    <a:srgbClr val="3399FF"/>
    <a:srgbClr val="FF9966"/>
    <a:srgbClr val="CCECFF"/>
    <a:srgbClr val="FF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115" autoAdjust="0"/>
    <p:restoredTop sz="90793" autoAdjust="0"/>
  </p:normalViewPr>
  <p:slideViewPr>
    <p:cSldViewPr snapToObjects="1" showGuides="1">
      <p:cViewPr>
        <p:scale>
          <a:sx n="100" d="100"/>
          <a:sy n="100" d="100"/>
        </p:scale>
        <p:origin x="-318" y="-72"/>
      </p:cViewPr>
      <p:guideLst>
        <p:guide orient="horz" pos="4110"/>
        <p:guide orient="horz" pos="442"/>
        <p:guide orient="horz" pos="1026"/>
        <p:guide orient="horz"/>
        <p:guide orient="horz" pos="197"/>
        <p:guide orient="horz" pos="3786"/>
        <p:guide pos="5489"/>
        <p:guide pos="295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BA8151C-0885-4865-A32F-25687A52E987}" type="doc">
      <dgm:prSet loTypeId="urn:microsoft.com/office/officeart/2005/8/layout/cycle4" loCatId="matrix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de-CH"/>
        </a:p>
      </dgm:t>
    </dgm:pt>
    <dgm:pt modelId="{7A489C66-65A1-4B19-811D-A3A5ED9D9370}">
      <dgm:prSet phldrT="[Texte]"/>
      <dgm:spPr>
        <a:solidFill>
          <a:srgbClr val="3399FF"/>
        </a:solidFill>
      </dgm:spPr>
      <dgm:t>
        <a:bodyPr/>
        <a:lstStyle/>
        <a:p>
          <a:r>
            <a:rPr lang="fr-CH" dirty="0" err="1" smtClean="0"/>
            <a:t>Produktion</a:t>
          </a:r>
          <a:endParaRPr lang="de-CH" dirty="0"/>
        </a:p>
      </dgm:t>
    </dgm:pt>
    <dgm:pt modelId="{CDFDDE77-3971-4FD5-837B-F7EB1F824B46}" type="parTrans" cxnId="{EA105901-AD8D-42B2-A652-D03FDA582581}">
      <dgm:prSet/>
      <dgm:spPr/>
      <dgm:t>
        <a:bodyPr/>
        <a:lstStyle/>
        <a:p>
          <a:endParaRPr lang="de-CH"/>
        </a:p>
      </dgm:t>
    </dgm:pt>
    <dgm:pt modelId="{66BD2D5A-CC3C-402C-ADFA-2B34F61B0AF8}" type="sibTrans" cxnId="{EA105901-AD8D-42B2-A652-D03FDA582581}">
      <dgm:prSet/>
      <dgm:spPr/>
      <dgm:t>
        <a:bodyPr/>
        <a:lstStyle/>
        <a:p>
          <a:endParaRPr lang="de-CH"/>
        </a:p>
      </dgm:t>
    </dgm:pt>
    <dgm:pt modelId="{E3C34714-352F-4CF9-875D-6F6E4C7F076E}">
      <dgm:prSet phldrT="[Texte]"/>
      <dgm:spPr>
        <a:solidFill>
          <a:srgbClr val="0066FF"/>
        </a:solidFill>
      </dgm:spPr>
      <dgm:t>
        <a:bodyPr/>
        <a:lstStyle/>
        <a:p>
          <a:r>
            <a:rPr lang="fr-CH" dirty="0" err="1" smtClean="0"/>
            <a:t>Verteilung</a:t>
          </a:r>
          <a:endParaRPr lang="de-CH" dirty="0"/>
        </a:p>
      </dgm:t>
    </dgm:pt>
    <dgm:pt modelId="{4B3A5273-9765-4A25-918A-795119B5635E}" type="parTrans" cxnId="{2D7EB722-715F-4786-AF21-7A977524ADA2}">
      <dgm:prSet/>
      <dgm:spPr/>
      <dgm:t>
        <a:bodyPr/>
        <a:lstStyle/>
        <a:p>
          <a:endParaRPr lang="de-CH"/>
        </a:p>
      </dgm:t>
    </dgm:pt>
    <dgm:pt modelId="{43240BA2-F1D7-45B8-B2F7-404CF2C6992C}" type="sibTrans" cxnId="{2D7EB722-715F-4786-AF21-7A977524ADA2}">
      <dgm:prSet/>
      <dgm:spPr/>
      <dgm:t>
        <a:bodyPr/>
        <a:lstStyle/>
        <a:p>
          <a:endParaRPr lang="de-CH"/>
        </a:p>
      </dgm:t>
    </dgm:pt>
    <dgm:pt modelId="{7C835CD5-4AC3-465D-BAB9-237B821C0621}">
      <dgm:prSet phldrT="[Texte]"/>
      <dgm:spPr>
        <a:solidFill>
          <a:srgbClr val="FFFF00"/>
        </a:solidFill>
      </dgm:spPr>
      <dgm:t>
        <a:bodyPr/>
        <a:lstStyle/>
        <a:p>
          <a:r>
            <a:rPr lang="fr-CH" dirty="0" smtClean="0">
              <a:solidFill>
                <a:schemeClr val="tx1"/>
              </a:solidFill>
            </a:rPr>
            <a:t>Organisation</a:t>
          </a:r>
          <a:endParaRPr lang="de-CH" dirty="0">
            <a:solidFill>
              <a:schemeClr val="tx1"/>
            </a:solidFill>
          </a:endParaRPr>
        </a:p>
      </dgm:t>
    </dgm:pt>
    <dgm:pt modelId="{6BC9642F-CEB5-4D48-B116-D64EC01E94DC}" type="parTrans" cxnId="{00632335-A8F8-4A1F-BD76-B02F4D130425}">
      <dgm:prSet/>
      <dgm:spPr/>
      <dgm:t>
        <a:bodyPr/>
        <a:lstStyle/>
        <a:p>
          <a:endParaRPr lang="de-CH"/>
        </a:p>
      </dgm:t>
    </dgm:pt>
    <dgm:pt modelId="{B57F436C-BBE7-41BE-B2FC-E0FE79B49B12}" type="sibTrans" cxnId="{00632335-A8F8-4A1F-BD76-B02F4D130425}">
      <dgm:prSet/>
      <dgm:spPr/>
      <dgm:t>
        <a:bodyPr/>
        <a:lstStyle/>
        <a:p>
          <a:endParaRPr lang="de-CH"/>
        </a:p>
      </dgm:t>
    </dgm:pt>
    <dgm:pt modelId="{87D05241-EB80-42EA-B4B5-8D2879ACF9B4}">
      <dgm:prSet phldrT="[Texte]"/>
      <dgm:spPr>
        <a:solidFill>
          <a:srgbClr val="92D050"/>
        </a:solidFill>
      </dgm:spPr>
      <dgm:t>
        <a:bodyPr/>
        <a:lstStyle/>
        <a:p>
          <a:r>
            <a:rPr lang="fr-CH" dirty="0" err="1" smtClean="0">
              <a:solidFill>
                <a:schemeClr val="tx1"/>
              </a:solidFill>
            </a:rPr>
            <a:t>Planung</a:t>
          </a:r>
          <a:endParaRPr lang="de-CH" dirty="0">
            <a:solidFill>
              <a:schemeClr val="tx1"/>
            </a:solidFill>
          </a:endParaRPr>
        </a:p>
      </dgm:t>
    </dgm:pt>
    <dgm:pt modelId="{6EA6D235-F0E6-4E7C-BBEF-B804269522AB}" type="parTrans" cxnId="{EA06623D-1DF6-4233-9477-F1C42A88904B}">
      <dgm:prSet/>
      <dgm:spPr/>
      <dgm:t>
        <a:bodyPr/>
        <a:lstStyle/>
        <a:p>
          <a:endParaRPr lang="de-CH"/>
        </a:p>
      </dgm:t>
    </dgm:pt>
    <dgm:pt modelId="{144A2504-82E5-4068-8EB3-096E71538943}" type="sibTrans" cxnId="{EA06623D-1DF6-4233-9477-F1C42A88904B}">
      <dgm:prSet/>
      <dgm:spPr/>
      <dgm:t>
        <a:bodyPr/>
        <a:lstStyle/>
        <a:p>
          <a:endParaRPr lang="de-CH"/>
        </a:p>
      </dgm:t>
    </dgm:pt>
    <dgm:pt modelId="{77FE871F-5A47-479F-99BB-C166EE5E4263}" type="pres">
      <dgm:prSet presAssocID="{7BA8151C-0885-4865-A32F-25687A52E987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  <dgm:t>
        <a:bodyPr/>
        <a:lstStyle/>
        <a:p>
          <a:endParaRPr lang="de-CH"/>
        </a:p>
      </dgm:t>
    </dgm:pt>
    <dgm:pt modelId="{3209BB73-69D1-4338-81BF-2B28472ADAE5}" type="pres">
      <dgm:prSet presAssocID="{7BA8151C-0885-4865-A32F-25687A52E987}" presName="children" presStyleCnt="0"/>
      <dgm:spPr/>
    </dgm:pt>
    <dgm:pt modelId="{B148DC96-7F04-480D-BDDF-DC47779095DB}" type="pres">
      <dgm:prSet presAssocID="{7BA8151C-0885-4865-A32F-25687A52E987}" presName="childPlaceholder" presStyleCnt="0"/>
      <dgm:spPr/>
    </dgm:pt>
    <dgm:pt modelId="{17134767-332A-4B06-A75C-781C66817D86}" type="pres">
      <dgm:prSet presAssocID="{7BA8151C-0885-4865-A32F-25687A52E987}" presName="circle" presStyleCnt="0"/>
      <dgm:spPr/>
    </dgm:pt>
    <dgm:pt modelId="{1E50FFA0-DA7E-410C-BD71-C1266F93FF41}" type="pres">
      <dgm:prSet presAssocID="{7BA8151C-0885-4865-A32F-25687A52E987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50818372-4609-4108-9A0C-692015CDA801}" type="pres">
      <dgm:prSet presAssocID="{7BA8151C-0885-4865-A32F-25687A52E987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C7DC1120-0F8C-4418-9093-7C45E7EA0304}" type="pres">
      <dgm:prSet presAssocID="{7BA8151C-0885-4865-A32F-25687A52E987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12D2C8A7-233E-4CE8-9EE6-496E49D912CB}" type="pres">
      <dgm:prSet presAssocID="{7BA8151C-0885-4865-A32F-25687A52E987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CH"/>
        </a:p>
      </dgm:t>
    </dgm:pt>
    <dgm:pt modelId="{2774E099-DA03-40C0-97BA-53CAD617FBAB}" type="pres">
      <dgm:prSet presAssocID="{7BA8151C-0885-4865-A32F-25687A52E987}" presName="quadrantPlaceholder" presStyleCnt="0"/>
      <dgm:spPr/>
    </dgm:pt>
    <dgm:pt modelId="{5CBEBD4B-85BD-4A06-9553-0C6E8CFB5847}" type="pres">
      <dgm:prSet presAssocID="{7BA8151C-0885-4865-A32F-25687A52E987}" presName="center1" presStyleLbl="fgShp" presStyleIdx="0" presStyleCnt="2"/>
      <dgm:spPr>
        <a:noFill/>
        <a:ln w="28575">
          <a:noFill/>
        </a:ln>
      </dgm:spPr>
      <dgm:t>
        <a:bodyPr/>
        <a:lstStyle/>
        <a:p>
          <a:endParaRPr lang="de-CH"/>
        </a:p>
      </dgm:t>
    </dgm:pt>
    <dgm:pt modelId="{8D87D93D-608A-4888-8425-0BF51E4B40F8}" type="pres">
      <dgm:prSet presAssocID="{7BA8151C-0885-4865-A32F-25687A52E987}" presName="center2" presStyleLbl="fgShp" presStyleIdx="1" presStyleCnt="2" custLinFactNeighborY="21394"/>
      <dgm:spPr>
        <a:noFill/>
        <a:ln w="28575">
          <a:noFill/>
        </a:ln>
      </dgm:spPr>
      <dgm:t>
        <a:bodyPr/>
        <a:lstStyle/>
        <a:p>
          <a:endParaRPr lang="de-CH"/>
        </a:p>
      </dgm:t>
    </dgm:pt>
  </dgm:ptLst>
  <dgm:cxnLst>
    <dgm:cxn modelId="{2C0F5381-6C25-418E-904E-927EFD893715}" type="presOf" srcId="{7C835CD5-4AC3-465D-BAB9-237B821C0621}" destId="{C7DC1120-0F8C-4418-9093-7C45E7EA0304}" srcOrd="0" destOrd="0" presId="urn:microsoft.com/office/officeart/2005/8/layout/cycle4"/>
    <dgm:cxn modelId="{F901C351-49CC-43FA-BF6C-80E7E9E328B2}" type="presOf" srcId="{87D05241-EB80-42EA-B4B5-8D2879ACF9B4}" destId="{12D2C8A7-233E-4CE8-9EE6-496E49D912CB}" srcOrd="0" destOrd="0" presId="urn:microsoft.com/office/officeart/2005/8/layout/cycle4"/>
    <dgm:cxn modelId="{2D7EB722-715F-4786-AF21-7A977524ADA2}" srcId="{7BA8151C-0885-4865-A32F-25687A52E987}" destId="{E3C34714-352F-4CF9-875D-6F6E4C7F076E}" srcOrd="1" destOrd="0" parTransId="{4B3A5273-9765-4A25-918A-795119B5635E}" sibTransId="{43240BA2-F1D7-45B8-B2F7-404CF2C6992C}"/>
    <dgm:cxn modelId="{FF758918-74A2-41AD-9BBF-7DC7CF66BC0E}" type="presOf" srcId="{7A489C66-65A1-4B19-811D-A3A5ED9D9370}" destId="{1E50FFA0-DA7E-410C-BD71-C1266F93FF41}" srcOrd="0" destOrd="0" presId="urn:microsoft.com/office/officeart/2005/8/layout/cycle4"/>
    <dgm:cxn modelId="{0E50C85E-5862-4FE6-A0A7-AFD5CFCDB9C8}" type="presOf" srcId="{7BA8151C-0885-4865-A32F-25687A52E987}" destId="{77FE871F-5A47-479F-99BB-C166EE5E4263}" srcOrd="0" destOrd="0" presId="urn:microsoft.com/office/officeart/2005/8/layout/cycle4"/>
    <dgm:cxn modelId="{897E3E66-EB5A-4498-8CB6-B8A89A67A99C}" type="presOf" srcId="{E3C34714-352F-4CF9-875D-6F6E4C7F076E}" destId="{50818372-4609-4108-9A0C-692015CDA801}" srcOrd="0" destOrd="0" presId="urn:microsoft.com/office/officeart/2005/8/layout/cycle4"/>
    <dgm:cxn modelId="{00632335-A8F8-4A1F-BD76-B02F4D130425}" srcId="{7BA8151C-0885-4865-A32F-25687A52E987}" destId="{7C835CD5-4AC3-465D-BAB9-237B821C0621}" srcOrd="2" destOrd="0" parTransId="{6BC9642F-CEB5-4D48-B116-D64EC01E94DC}" sibTransId="{B57F436C-BBE7-41BE-B2FC-E0FE79B49B12}"/>
    <dgm:cxn modelId="{EA105901-AD8D-42B2-A652-D03FDA582581}" srcId="{7BA8151C-0885-4865-A32F-25687A52E987}" destId="{7A489C66-65A1-4B19-811D-A3A5ED9D9370}" srcOrd="0" destOrd="0" parTransId="{CDFDDE77-3971-4FD5-837B-F7EB1F824B46}" sibTransId="{66BD2D5A-CC3C-402C-ADFA-2B34F61B0AF8}"/>
    <dgm:cxn modelId="{EA06623D-1DF6-4233-9477-F1C42A88904B}" srcId="{7BA8151C-0885-4865-A32F-25687A52E987}" destId="{87D05241-EB80-42EA-B4B5-8D2879ACF9B4}" srcOrd="3" destOrd="0" parTransId="{6EA6D235-F0E6-4E7C-BBEF-B804269522AB}" sibTransId="{144A2504-82E5-4068-8EB3-096E71538943}"/>
    <dgm:cxn modelId="{89E1B3D7-F81F-4BB8-8B59-79A762E12023}" type="presParOf" srcId="{77FE871F-5A47-479F-99BB-C166EE5E4263}" destId="{3209BB73-69D1-4338-81BF-2B28472ADAE5}" srcOrd="0" destOrd="0" presId="urn:microsoft.com/office/officeart/2005/8/layout/cycle4"/>
    <dgm:cxn modelId="{9D9DF7BD-028E-4B1C-97DA-CE59EF1F72C9}" type="presParOf" srcId="{3209BB73-69D1-4338-81BF-2B28472ADAE5}" destId="{B148DC96-7F04-480D-BDDF-DC47779095DB}" srcOrd="0" destOrd="0" presId="urn:microsoft.com/office/officeart/2005/8/layout/cycle4"/>
    <dgm:cxn modelId="{F1FC201B-DBA9-42FE-862E-C34BEBF210F8}" type="presParOf" srcId="{77FE871F-5A47-479F-99BB-C166EE5E4263}" destId="{17134767-332A-4B06-A75C-781C66817D86}" srcOrd="1" destOrd="0" presId="urn:microsoft.com/office/officeart/2005/8/layout/cycle4"/>
    <dgm:cxn modelId="{9811BE8E-92EE-4E57-B5E7-F031C0C0B5BA}" type="presParOf" srcId="{17134767-332A-4B06-A75C-781C66817D86}" destId="{1E50FFA0-DA7E-410C-BD71-C1266F93FF41}" srcOrd="0" destOrd="0" presId="urn:microsoft.com/office/officeart/2005/8/layout/cycle4"/>
    <dgm:cxn modelId="{B34E2063-113E-4BA9-A248-E0C8289BD204}" type="presParOf" srcId="{17134767-332A-4B06-A75C-781C66817D86}" destId="{50818372-4609-4108-9A0C-692015CDA801}" srcOrd="1" destOrd="0" presId="urn:microsoft.com/office/officeart/2005/8/layout/cycle4"/>
    <dgm:cxn modelId="{EFA24755-84CE-4E2A-8E9C-4632AD19365E}" type="presParOf" srcId="{17134767-332A-4B06-A75C-781C66817D86}" destId="{C7DC1120-0F8C-4418-9093-7C45E7EA0304}" srcOrd="2" destOrd="0" presId="urn:microsoft.com/office/officeart/2005/8/layout/cycle4"/>
    <dgm:cxn modelId="{0F7F85D9-3098-4E4B-876D-4B49BF099E77}" type="presParOf" srcId="{17134767-332A-4B06-A75C-781C66817D86}" destId="{12D2C8A7-233E-4CE8-9EE6-496E49D912CB}" srcOrd="3" destOrd="0" presId="urn:microsoft.com/office/officeart/2005/8/layout/cycle4"/>
    <dgm:cxn modelId="{0D94CC53-5F80-492D-A98B-081926CE3F54}" type="presParOf" srcId="{17134767-332A-4B06-A75C-781C66817D86}" destId="{2774E099-DA03-40C0-97BA-53CAD617FBAB}" srcOrd="4" destOrd="0" presId="urn:microsoft.com/office/officeart/2005/8/layout/cycle4"/>
    <dgm:cxn modelId="{3542E931-E39A-4824-ACD4-B819B9F5F14D}" type="presParOf" srcId="{77FE871F-5A47-479F-99BB-C166EE5E4263}" destId="{5CBEBD4B-85BD-4A06-9553-0C6E8CFB5847}" srcOrd="2" destOrd="0" presId="urn:microsoft.com/office/officeart/2005/8/layout/cycle4"/>
    <dgm:cxn modelId="{26C5BCE5-EF1F-4253-9251-350E08FC5E6F}" type="presParOf" srcId="{77FE871F-5A47-479F-99BB-C166EE5E4263}" destId="{8D87D93D-608A-4888-8425-0BF51E4B40F8}" srcOrd="3" destOrd="0" presId="urn:microsoft.com/office/officeart/2005/8/layout/cycle4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E50FFA0-DA7E-410C-BD71-C1266F93FF41}">
      <dsp:nvSpPr>
        <dsp:cNvPr id="0" name=""/>
        <dsp:cNvSpPr/>
      </dsp:nvSpPr>
      <dsp:spPr>
        <a:xfrm>
          <a:off x="1268367" y="292315"/>
          <a:ext cx="2220572" cy="2220572"/>
        </a:xfrm>
        <a:prstGeom prst="pieWedge">
          <a:avLst/>
        </a:prstGeom>
        <a:solidFill>
          <a:srgbClr val="3399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err="1" smtClean="0"/>
            <a:t>Produktion</a:t>
          </a:r>
          <a:endParaRPr lang="de-CH" sz="1800" kern="1200" dirty="0"/>
        </a:p>
      </dsp:txBody>
      <dsp:txXfrm>
        <a:off x="1918757" y="942705"/>
        <a:ext cx="1570182" cy="1570182"/>
      </dsp:txXfrm>
    </dsp:sp>
    <dsp:sp modelId="{50818372-4609-4108-9A0C-692015CDA801}">
      <dsp:nvSpPr>
        <dsp:cNvPr id="0" name=""/>
        <dsp:cNvSpPr/>
      </dsp:nvSpPr>
      <dsp:spPr>
        <a:xfrm rot="5400000">
          <a:off x="3591507" y="292315"/>
          <a:ext cx="2220572" cy="2220572"/>
        </a:xfrm>
        <a:prstGeom prst="pieWedge">
          <a:avLst/>
        </a:prstGeom>
        <a:solidFill>
          <a:srgbClr val="0066FF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err="1" smtClean="0"/>
            <a:t>Verteilung</a:t>
          </a:r>
          <a:endParaRPr lang="de-CH" sz="1800" kern="1200" dirty="0"/>
        </a:p>
      </dsp:txBody>
      <dsp:txXfrm rot="-5400000">
        <a:off x="3591507" y="942705"/>
        <a:ext cx="1570182" cy="1570182"/>
      </dsp:txXfrm>
    </dsp:sp>
    <dsp:sp modelId="{C7DC1120-0F8C-4418-9093-7C45E7EA0304}">
      <dsp:nvSpPr>
        <dsp:cNvPr id="0" name=""/>
        <dsp:cNvSpPr/>
      </dsp:nvSpPr>
      <dsp:spPr>
        <a:xfrm rot="10800000">
          <a:off x="3591507" y="2615455"/>
          <a:ext cx="2220572" cy="2220572"/>
        </a:xfrm>
        <a:prstGeom prst="pieWedge">
          <a:avLst/>
        </a:prstGeom>
        <a:solidFill>
          <a:srgbClr val="FFFF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smtClean="0">
              <a:solidFill>
                <a:schemeClr val="tx1"/>
              </a:solidFill>
            </a:rPr>
            <a:t>Organisation</a:t>
          </a:r>
          <a:endParaRPr lang="de-CH" sz="1800" kern="1200" dirty="0">
            <a:solidFill>
              <a:schemeClr val="tx1"/>
            </a:solidFill>
          </a:endParaRPr>
        </a:p>
      </dsp:txBody>
      <dsp:txXfrm rot="10800000">
        <a:off x="3591507" y="2615455"/>
        <a:ext cx="1570182" cy="1570182"/>
      </dsp:txXfrm>
    </dsp:sp>
    <dsp:sp modelId="{12D2C8A7-233E-4CE8-9EE6-496E49D912CB}">
      <dsp:nvSpPr>
        <dsp:cNvPr id="0" name=""/>
        <dsp:cNvSpPr/>
      </dsp:nvSpPr>
      <dsp:spPr>
        <a:xfrm rot="16200000">
          <a:off x="1268367" y="2615455"/>
          <a:ext cx="2220572" cy="2220572"/>
        </a:xfrm>
        <a:prstGeom prst="pieWedge">
          <a:avLst/>
        </a:prstGeom>
        <a:solidFill>
          <a:srgbClr val="92D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128016" rIns="128016" bIns="128016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fr-CH" sz="1800" kern="1200" dirty="0" err="1" smtClean="0">
              <a:solidFill>
                <a:schemeClr val="tx1"/>
              </a:solidFill>
            </a:rPr>
            <a:t>Planung</a:t>
          </a:r>
          <a:endParaRPr lang="de-CH" sz="1800" kern="1200" dirty="0">
            <a:solidFill>
              <a:schemeClr val="tx1"/>
            </a:solidFill>
          </a:endParaRPr>
        </a:p>
      </dsp:txBody>
      <dsp:txXfrm rot="5400000">
        <a:off x="1918757" y="2615455"/>
        <a:ext cx="1570182" cy="1570182"/>
      </dsp:txXfrm>
    </dsp:sp>
    <dsp:sp modelId="{5CBEBD4B-85BD-4A06-9553-0C6E8CFB5847}">
      <dsp:nvSpPr>
        <dsp:cNvPr id="0" name=""/>
        <dsp:cNvSpPr/>
      </dsp:nvSpPr>
      <dsp:spPr>
        <a:xfrm>
          <a:off x="3156880" y="2102621"/>
          <a:ext cx="766687" cy="666684"/>
        </a:xfrm>
        <a:prstGeom prst="circularArrow">
          <a:avLst/>
        </a:prstGeom>
        <a:noFill/>
        <a:ln w="285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D87D93D-608A-4888-8425-0BF51E4B40F8}">
      <dsp:nvSpPr>
        <dsp:cNvPr id="0" name=""/>
        <dsp:cNvSpPr/>
      </dsp:nvSpPr>
      <dsp:spPr>
        <a:xfrm rot="10800000">
          <a:off x="3156880" y="2501668"/>
          <a:ext cx="766687" cy="666684"/>
        </a:xfrm>
        <a:prstGeom prst="circularArrow">
          <a:avLst/>
        </a:prstGeom>
        <a:noFill/>
        <a:ln w="285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4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3.vml.rels><?xml version="1.0" encoding="UTF-8" standalone="yes"?>
<Relationships xmlns="http://schemas.openxmlformats.org/package/2006/relationships"><Relationship Id="rId2" Type="http://schemas.openxmlformats.org/officeDocument/2006/relationships/image" Target="../media/image31.emf"/><Relationship Id="rId1" Type="http://schemas.openxmlformats.org/officeDocument/2006/relationships/image" Target="NULL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C618B-02B4-49D0-AC6D-DCB998BD4992}" type="datetimeFigureOut">
              <a:rPr lang="fr-CH" smtClean="0"/>
              <a:pPr/>
              <a:t>06.10.2014</a:t>
            </a:fld>
            <a:endParaRPr lang="fr-CH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CH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0BAA67-C616-446A-B6EE-144E6BB9DB56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39117931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E032694F-FD2E-45AC-9D43-536C462D8729}" type="datetime1">
              <a:rPr lang="fr-CH" smtClean="0"/>
              <a:pPr/>
              <a:t>06.10.2014</a:t>
            </a:fld>
            <a:endParaRPr lang="fr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568" tIns="45784" rIns="91568" bIns="45784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GB" dirty="0" smtClean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568" tIns="45784" rIns="91568" bIns="4578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CH" smtClean="0"/>
              <a:t>Textmasterformate durch Klicken bearbeiten</a:t>
            </a:r>
          </a:p>
          <a:p>
            <a:pPr lvl="1"/>
            <a:r>
              <a:rPr lang="fr-CH" smtClean="0"/>
              <a:t>Zweite Ebene</a:t>
            </a:r>
          </a:p>
          <a:p>
            <a:pPr lvl="2"/>
            <a:r>
              <a:rPr lang="fr-CH" smtClean="0"/>
              <a:t>Dritte Ebene</a:t>
            </a:r>
          </a:p>
          <a:p>
            <a:pPr lvl="3"/>
            <a:r>
              <a:rPr lang="fr-CH" smtClean="0"/>
              <a:t>Vierte Ebene</a:t>
            </a:r>
          </a:p>
          <a:p>
            <a:pPr lvl="4"/>
            <a:r>
              <a:rPr lang="fr-CH" smtClean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Calibri" pitchFamily="34" charset="0"/>
              </a:defRPr>
            </a:lvl1pPr>
          </a:lstStyle>
          <a:p>
            <a:endParaRPr lang="fr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28583"/>
            <a:ext cx="2945659" cy="496332"/>
          </a:xfrm>
          <a:prstGeom prst="rect">
            <a:avLst/>
          </a:prstGeom>
        </p:spPr>
        <p:txBody>
          <a:bodyPr vert="horz" wrap="square" lIns="91568" tIns="45784" rIns="91568" bIns="45784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fld id="{C1870A02-3A71-4083-BCC0-4D14A98E74AD}" type="slidenum">
              <a:rPr lang="fr-CH" smtClean="0"/>
              <a:pPr/>
              <a:t>‹N°›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95418016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ＭＳ Ｐゴシック" pitchFamily="-112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12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 w="12701">
            <a:solidFill>
              <a:srgbClr val="000000"/>
            </a:solidFill>
            <a:prstDash val="solid"/>
            <a:miter/>
          </a:ln>
        </p:spPr>
      </p:sp>
      <p:sp>
        <p:nvSpPr>
          <p:cNvPr id="3" name="Notizenplatzhalter 2"/>
          <p:cNvSpPr txBox="1">
            <a:spLocks noGrp="1"/>
          </p:cNvSpPr>
          <p:nvPr>
            <p:ph type="body" sz="quarter" idx="1"/>
          </p:nvPr>
        </p:nvSpPr>
        <p:spPr/>
        <p:txBody>
          <a:bodyPr/>
          <a:lstStyle/>
          <a:p>
            <a:endParaRPr lang="fr-CH"/>
          </a:p>
        </p:txBody>
      </p:sp>
      <p:sp>
        <p:nvSpPr>
          <p:cNvPr id="4" name="Foliennummernplatzhalter 3"/>
          <p:cNvSpPr txBox="1"/>
          <p:nvPr/>
        </p:nvSpPr>
        <p:spPr>
          <a:xfrm>
            <a:off x="3850447" y="9428581"/>
            <a:ext cx="2945657" cy="496330"/>
          </a:xfrm>
          <a:prstGeom prst="rect">
            <a:avLst/>
          </a:prstGeom>
          <a:noFill/>
          <a:ln>
            <a:noFill/>
          </a:ln>
        </p:spPr>
        <p:txBody>
          <a:bodyPr vert="horz" wrap="square" lIns="91568" tIns="45784" rIns="91568" bIns="45784" anchor="b" anchorCtr="0" compatLnSpc="1"/>
          <a:lstStyle/>
          <a:p>
            <a:pPr marL="0" marR="0" lvl="0" indent="0" algn="r" defTabSz="4572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39FB9C27-9549-4871-B49E-3F09DC05B197}" type="slidenum">
              <a:rPr/>
              <a:pPr marL="0" marR="0" lvl="0" indent="0" algn="r" defTabSz="4572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1</a:t>
            </a:fld>
            <a:endParaRPr lang="fr-CH" sz="1200" b="0" i="0" u="none" strike="noStrike" kern="1200" cap="none" spc="0" baseline="0">
              <a:solidFill>
                <a:srgbClr val="000000"/>
              </a:solidFill>
              <a:uFillTx/>
              <a:latin typeface="Calibri" pitchFamily="34"/>
              <a:ea typeface="ＭＳ Ｐゴシック" pitchFamily="16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0</a:t>
            </a:fld>
            <a:endParaRPr lang="fr-CH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1</a:t>
            </a:fld>
            <a:endParaRPr lang="fr-CH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2</a:t>
            </a:fld>
            <a:endParaRPr lang="fr-CH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3</a:t>
            </a:fld>
            <a:endParaRPr lang="fr-CH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4</a:t>
            </a:fld>
            <a:endParaRPr lang="fr-CH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5</a:t>
            </a:fld>
            <a:endParaRPr lang="fr-CH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6</a:t>
            </a:fld>
            <a:endParaRPr lang="fr-CH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7</a:t>
            </a:fld>
            <a:endParaRPr lang="fr-CH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8</a:t>
            </a:fld>
            <a:endParaRPr lang="fr-CH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19</a:t>
            </a:fld>
            <a:endParaRPr lang="fr-CH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</a:t>
            </a:fld>
            <a:endParaRPr lang="fr-CH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0</a:t>
            </a:fld>
            <a:endParaRPr lang="fr-CH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1</a:t>
            </a:fld>
            <a:endParaRPr lang="fr-CH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2</a:t>
            </a:fld>
            <a:endParaRPr lang="fr-CH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3</a:t>
            </a:fld>
            <a:endParaRPr lang="fr-CH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4</a:t>
            </a:fld>
            <a:endParaRPr lang="fr-CH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5</a:t>
            </a:fld>
            <a:endParaRPr lang="fr-CH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6</a:t>
            </a:fld>
            <a:endParaRPr lang="fr-CH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7</a:t>
            </a:fld>
            <a:endParaRPr lang="fr-CH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8</a:t>
            </a:fld>
            <a:endParaRPr lang="fr-CH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29</a:t>
            </a:fld>
            <a:endParaRPr lang="fr-CH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</a:t>
            </a:fld>
            <a:endParaRPr lang="fr-CH"/>
          </a:p>
        </p:txBody>
      </p:sp>
    </p:spTree>
    <p:extLst>
      <p:ext uri="{BB962C8B-B14F-4D97-AF65-F5344CB8AC3E}">
        <p14:creationId xmlns:p14="http://schemas.microsoft.com/office/powerpoint/2010/main" val="124136307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0</a:t>
            </a:fld>
            <a:endParaRPr lang="fr-CH" dirty="0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1</a:t>
            </a:fld>
            <a:endParaRPr lang="fr-CH" dirty="0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2</a:t>
            </a:fld>
            <a:endParaRPr lang="fr-CH" dirty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fr-CH" dirty="0" smtClean="0"/>
              <a:t>Pour planifier la distribution d’eau potable au niveau cantonal, le canton met en place un SIG des infrastructures d’eau potable. Celle-ci comprendra tout</a:t>
            </a:r>
            <a:r>
              <a:rPr lang="fr-CH" baseline="0" dirty="0" smtClean="0"/>
              <a:t> ce que comprenait l’ancien Atlas de l'approvisionnement en eau: sources, puits, conduites, réservoirs, STAP etc.</a:t>
            </a:r>
          </a:p>
          <a:p>
            <a:r>
              <a:rPr lang="fr-CH" baseline="0" dirty="0" smtClean="0"/>
              <a:t>Tous ces objets géométriques auront des caractéristiques (=attributs) techniques: pour les réservoirs, la hauteur et les volume, pour les conduites les diamètres etc.</a:t>
            </a:r>
          </a:p>
          <a:p>
            <a:r>
              <a:rPr lang="fr-CH" baseline="0" dirty="0" smtClean="0"/>
              <a:t>Nous allons donc vous demander de nous fournir une copie de vos données pour les intégrer dans une banque de données cantonale.</a:t>
            </a:r>
          </a:p>
          <a:p>
            <a:r>
              <a:rPr lang="fr-CH" baseline="0" dirty="0" smtClean="0"/>
              <a:t>Il est clair que ces données sont votre propriété. Nous aimerions les rendre accessible à toutes les communes, mais vous consulterons à ce propos et aussi des juristes.</a:t>
            </a:r>
          </a:p>
          <a:p>
            <a:r>
              <a:rPr lang="fr-CH" baseline="0" dirty="0" smtClean="0"/>
              <a:t>Comme les systèmes utilisés par les distributeurs sont assez différents, nous allons proposer plusieurs formats de transferts, afin de minimiser les efforts d’adaptation des données de deux côtés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3</a:t>
            </a:fld>
            <a:endParaRPr lang="fr-CH" dirty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34</a:t>
            </a:fld>
            <a:endParaRPr lang="fr-CH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4</a:t>
            </a:fld>
            <a:endParaRPr lang="fr-CH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5</a:t>
            </a:fld>
            <a:endParaRPr lang="fr-CH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228600" indent="-228600">
              <a:buAutoNum type="arabicParenR"/>
            </a:pPr>
            <a:r>
              <a:rPr lang="fr-CH" baseline="0" dirty="0" smtClean="0"/>
              <a:t>est-ce une conduite d’équipement au sens de la </a:t>
            </a:r>
            <a:r>
              <a:rPr lang="fr-CH" baseline="0" dirty="0" err="1" smtClean="0"/>
              <a:t>LATeC</a:t>
            </a:r>
            <a:endParaRPr lang="fr-CH" baseline="0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6</a:t>
            </a:fld>
            <a:endParaRPr lang="fr-CH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7</a:t>
            </a:fld>
            <a:endParaRPr lang="fr-CH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8</a:t>
            </a:fld>
            <a:endParaRPr lang="fr-CH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CH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870A02-3A71-4083-BCC0-4D14A98E74AD}" type="slidenum">
              <a:rPr lang="fr-CH" smtClean="0"/>
              <a:pPr/>
              <a:t>9</a:t>
            </a:fld>
            <a:endParaRPr lang="fr-CH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oleObject" Target="../embeddings/oleObject2.bin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image" Target="../media/image1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tags" Target="../tags/tag8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tags" Target="../tags/tag80.xml"/><Relationship Id="rId17" Type="http://schemas.openxmlformats.org/officeDocument/2006/relationships/oleObject" Target="../embeddings/oleObject13.bin"/><Relationship Id="rId2" Type="http://schemas.openxmlformats.org/officeDocument/2006/relationships/tags" Target="../tags/tag70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4.xml"/><Relationship Id="rId11" Type="http://schemas.openxmlformats.org/officeDocument/2006/relationships/tags" Target="../tags/tag79.xml"/><Relationship Id="rId5" Type="http://schemas.openxmlformats.org/officeDocument/2006/relationships/tags" Target="../tags/tag73.xml"/><Relationship Id="rId15" Type="http://schemas.openxmlformats.org/officeDocument/2006/relationships/tags" Target="../tags/tag83.xml"/><Relationship Id="rId10" Type="http://schemas.openxmlformats.org/officeDocument/2006/relationships/tags" Target="../tags/tag78.xml"/><Relationship Id="rId4" Type="http://schemas.openxmlformats.org/officeDocument/2006/relationships/tags" Target="../tags/tag72.xml"/><Relationship Id="rId9" Type="http://schemas.openxmlformats.org/officeDocument/2006/relationships/tags" Target="../tags/tag77.xml"/><Relationship Id="rId14" Type="http://schemas.openxmlformats.org/officeDocument/2006/relationships/tags" Target="../tags/tag8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oleObject" Target="../embeddings/oleObject14.bin"/><Relationship Id="rId10" Type="http://schemas.openxmlformats.org/officeDocument/2006/relationships/tags" Target="../tags/tag92.xml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00.xml"/><Relationship Id="rId11" Type="http://schemas.openxmlformats.org/officeDocument/2006/relationships/tags" Target="../tags/tag105.xml"/><Relationship Id="rId5" Type="http://schemas.openxmlformats.org/officeDocument/2006/relationships/tags" Target="../tags/tag99.xml"/><Relationship Id="rId10" Type="http://schemas.openxmlformats.org/officeDocument/2006/relationships/tags" Target="../tags/tag104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112.xml"/><Relationship Id="rId3" Type="http://schemas.openxmlformats.org/officeDocument/2006/relationships/tags" Target="../tags/tag107.xml"/><Relationship Id="rId7" Type="http://schemas.openxmlformats.org/officeDocument/2006/relationships/tags" Target="../tags/tag111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6.vml"/><Relationship Id="rId6" Type="http://schemas.openxmlformats.org/officeDocument/2006/relationships/tags" Target="../tags/tag110.xml"/><Relationship Id="rId11" Type="http://schemas.openxmlformats.org/officeDocument/2006/relationships/oleObject" Target="../embeddings/oleObject16.bin"/><Relationship Id="rId5" Type="http://schemas.openxmlformats.org/officeDocument/2006/relationships/tags" Target="../tags/tag10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08.xml"/><Relationship Id="rId9" Type="http://schemas.openxmlformats.org/officeDocument/2006/relationships/tags" Target="../tags/tag113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5.xml"/><Relationship Id="rId7" Type="http://schemas.openxmlformats.org/officeDocument/2006/relationships/tags" Target="../tags/tag119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18.xml"/><Relationship Id="rId5" Type="http://schemas.openxmlformats.org/officeDocument/2006/relationships/tags" Target="../tags/tag117.xml"/><Relationship Id="rId4" Type="http://schemas.openxmlformats.org/officeDocument/2006/relationships/tags" Target="../tags/tag116.xml"/><Relationship Id="rId9" Type="http://schemas.openxmlformats.org/officeDocument/2006/relationships/oleObject" Target="../embeddings/oleObject17.bin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12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21.xml"/><Relationship Id="rId7" Type="http://schemas.openxmlformats.org/officeDocument/2006/relationships/tags" Target="../tags/tag125.xml"/><Relationship Id="rId12" Type="http://schemas.openxmlformats.org/officeDocument/2006/relationships/tags" Target="../tags/tag130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24.xml"/><Relationship Id="rId11" Type="http://schemas.openxmlformats.org/officeDocument/2006/relationships/tags" Target="../tags/tag129.xml"/><Relationship Id="rId5" Type="http://schemas.openxmlformats.org/officeDocument/2006/relationships/tags" Target="../tags/tag123.xml"/><Relationship Id="rId10" Type="http://schemas.openxmlformats.org/officeDocument/2006/relationships/tags" Target="../tags/tag128.xml"/><Relationship Id="rId4" Type="http://schemas.openxmlformats.org/officeDocument/2006/relationships/tags" Target="../tags/tag122.xml"/><Relationship Id="rId9" Type="http://schemas.openxmlformats.org/officeDocument/2006/relationships/tags" Target="../tags/tag127.xml"/><Relationship Id="rId14" Type="http://schemas.openxmlformats.org/officeDocument/2006/relationships/oleObject" Target="../embeddings/oleObject18.bin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137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35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34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3.xml"/><Relationship Id="rId9" Type="http://schemas.openxmlformats.org/officeDocument/2006/relationships/tags" Target="../tags/tag1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0.v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21.vml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2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2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4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4" Type="http://schemas.openxmlformats.org/officeDocument/2006/relationships/tags" Target="../tags/tag149.xml"/><Relationship Id="rId9" Type="http://schemas.openxmlformats.org/officeDocument/2006/relationships/oleObject" Target="../embeddings/oleObject24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54.xml"/><Relationship Id="rId7" Type="http://schemas.openxmlformats.org/officeDocument/2006/relationships/tags" Target="../tags/tag158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57.xml"/><Relationship Id="rId5" Type="http://schemas.openxmlformats.org/officeDocument/2006/relationships/tags" Target="../tags/tag156.xml"/><Relationship Id="rId4" Type="http://schemas.openxmlformats.org/officeDocument/2006/relationships/tags" Target="../tags/tag155.xml"/><Relationship Id="rId9" Type="http://schemas.openxmlformats.org/officeDocument/2006/relationships/oleObject" Target="../embeddings/oleObject25.bin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165.xml"/><Relationship Id="rId13" Type="http://schemas.openxmlformats.org/officeDocument/2006/relationships/tags" Target="../tags/tag170.xml"/><Relationship Id="rId18" Type="http://schemas.openxmlformats.org/officeDocument/2006/relationships/tags" Target="../tags/tag175.xml"/><Relationship Id="rId3" Type="http://schemas.openxmlformats.org/officeDocument/2006/relationships/tags" Target="../tags/tag160.xml"/><Relationship Id="rId21" Type="http://schemas.openxmlformats.org/officeDocument/2006/relationships/tags" Target="../tags/tag178.xml"/><Relationship Id="rId7" Type="http://schemas.openxmlformats.org/officeDocument/2006/relationships/tags" Target="../tags/tag164.xml"/><Relationship Id="rId12" Type="http://schemas.openxmlformats.org/officeDocument/2006/relationships/tags" Target="../tags/tag169.xml"/><Relationship Id="rId17" Type="http://schemas.openxmlformats.org/officeDocument/2006/relationships/tags" Target="../tags/tag174.xml"/><Relationship Id="rId25" Type="http://schemas.openxmlformats.org/officeDocument/2006/relationships/oleObject" Target="../embeddings/oleObject26.bin"/><Relationship Id="rId2" Type="http://schemas.openxmlformats.org/officeDocument/2006/relationships/tags" Target="../tags/tag159.xml"/><Relationship Id="rId16" Type="http://schemas.openxmlformats.org/officeDocument/2006/relationships/tags" Target="../tags/tag173.xml"/><Relationship Id="rId20" Type="http://schemas.openxmlformats.org/officeDocument/2006/relationships/tags" Target="../tags/tag177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63.xml"/><Relationship Id="rId11" Type="http://schemas.openxmlformats.org/officeDocument/2006/relationships/tags" Target="../tags/tag168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162.xml"/><Relationship Id="rId15" Type="http://schemas.openxmlformats.org/officeDocument/2006/relationships/tags" Target="../tags/tag172.xml"/><Relationship Id="rId23" Type="http://schemas.openxmlformats.org/officeDocument/2006/relationships/tags" Target="../tags/tag180.xml"/><Relationship Id="rId10" Type="http://schemas.openxmlformats.org/officeDocument/2006/relationships/tags" Target="../tags/tag167.xml"/><Relationship Id="rId19" Type="http://schemas.openxmlformats.org/officeDocument/2006/relationships/tags" Target="../tags/tag176.xml"/><Relationship Id="rId4" Type="http://schemas.openxmlformats.org/officeDocument/2006/relationships/tags" Target="../tags/tag161.xml"/><Relationship Id="rId9" Type="http://schemas.openxmlformats.org/officeDocument/2006/relationships/tags" Target="../tags/tag166.xml"/><Relationship Id="rId14" Type="http://schemas.openxmlformats.org/officeDocument/2006/relationships/tags" Target="../tags/tag171.xml"/><Relationship Id="rId22" Type="http://schemas.openxmlformats.org/officeDocument/2006/relationships/tags" Target="../tags/tag17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82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81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84.xml"/><Relationship Id="rId4" Type="http://schemas.openxmlformats.org/officeDocument/2006/relationships/tags" Target="../tags/tag18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186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8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90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97.xml"/><Relationship Id="rId13" Type="http://schemas.openxmlformats.org/officeDocument/2006/relationships/tags" Target="../tags/tag202.xml"/><Relationship Id="rId3" Type="http://schemas.openxmlformats.org/officeDocument/2006/relationships/tags" Target="../tags/tag192.xml"/><Relationship Id="rId7" Type="http://schemas.openxmlformats.org/officeDocument/2006/relationships/tags" Target="../tags/tag196.xml"/><Relationship Id="rId12" Type="http://schemas.openxmlformats.org/officeDocument/2006/relationships/tags" Target="../tags/tag201.xml"/><Relationship Id="rId17" Type="http://schemas.openxmlformats.org/officeDocument/2006/relationships/oleObject" Target="../embeddings/oleObject30.bin"/><Relationship Id="rId2" Type="http://schemas.openxmlformats.org/officeDocument/2006/relationships/tags" Target="../tags/tag191.xml"/><Relationship Id="rId16" Type="http://schemas.openxmlformats.org/officeDocument/2006/relationships/slideMaster" Target="../slideMasters/slideMaster1.xml"/><Relationship Id="rId1" Type="http://schemas.openxmlformats.org/officeDocument/2006/relationships/vmlDrawing" Target="../drawings/vmlDrawing30.vml"/><Relationship Id="rId6" Type="http://schemas.openxmlformats.org/officeDocument/2006/relationships/tags" Target="../tags/tag195.xml"/><Relationship Id="rId11" Type="http://schemas.openxmlformats.org/officeDocument/2006/relationships/tags" Target="../tags/tag200.xml"/><Relationship Id="rId5" Type="http://schemas.openxmlformats.org/officeDocument/2006/relationships/tags" Target="../tags/tag194.xml"/><Relationship Id="rId15" Type="http://schemas.openxmlformats.org/officeDocument/2006/relationships/tags" Target="../tags/tag204.xml"/><Relationship Id="rId10" Type="http://schemas.openxmlformats.org/officeDocument/2006/relationships/tags" Target="../tags/tag199.xml"/><Relationship Id="rId4" Type="http://schemas.openxmlformats.org/officeDocument/2006/relationships/tags" Target="../tags/tag193.xml"/><Relationship Id="rId9" Type="http://schemas.openxmlformats.org/officeDocument/2006/relationships/tags" Target="../tags/tag198.xml"/><Relationship Id="rId14" Type="http://schemas.openxmlformats.org/officeDocument/2006/relationships/tags" Target="../tags/tag20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211.xml"/><Relationship Id="rId13" Type="http://schemas.openxmlformats.org/officeDocument/2006/relationships/tags" Target="../tags/tag216.xml"/><Relationship Id="rId3" Type="http://schemas.openxmlformats.org/officeDocument/2006/relationships/tags" Target="../tags/tag206.xml"/><Relationship Id="rId7" Type="http://schemas.openxmlformats.org/officeDocument/2006/relationships/tags" Target="../tags/tag210.xml"/><Relationship Id="rId12" Type="http://schemas.openxmlformats.org/officeDocument/2006/relationships/tags" Target="../tags/tag215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09.xml"/><Relationship Id="rId11" Type="http://schemas.openxmlformats.org/officeDocument/2006/relationships/tags" Target="../tags/tag214.xml"/><Relationship Id="rId5" Type="http://schemas.openxmlformats.org/officeDocument/2006/relationships/tags" Target="../tags/tag208.xml"/><Relationship Id="rId15" Type="http://schemas.openxmlformats.org/officeDocument/2006/relationships/oleObject" Target="../embeddings/oleObject31.bin"/><Relationship Id="rId10" Type="http://schemas.openxmlformats.org/officeDocument/2006/relationships/tags" Target="../tags/tag213.xml"/><Relationship Id="rId4" Type="http://schemas.openxmlformats.org/officeDocument/2006/relationships/tags" Target="../tags/tag207.xml"/><Relationship Id="rId9" Type="http://schemas.openxmlformats.org/officeDocument/2006/relationships/tags" Target="../tags/tag212.xml"/><Relationship Id="rId1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223.xml"/><Relationship Id="rId13" Type="http://schemas.openxmlformats.org/officeDocument/2006/relationships/oleObject" Target="../embeddings/oleObject32.bin"/><Relationship Id="rId3" Type="http://schemas.openxmlformats.org/officeDocument/2006/relationships/tags" Target="../tags/tag218.xml"/><Relationship Id="rId7" Type="http://schemas.openxmlformats.org/officeDocument/2006/relationships/tags" Target="../tags/tag222.xml"/><Relationship Id="rId12" Type="http://schemas.openxmlformats.org/officeDocument/2006/relationships/slideMaster" Target="../slideMasters/slideMaster1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21.xml"/><Relationship Id="rId11" Type="http://schemas.openxmlformats.org/officeDocument/2006/relationships/tags" Target="../tags/tag226.xml"/><Relationship Id="rId5" Type="http://schemas.openxmlformats.org/officeDocument/2006/relationships/tags" Target="../tags/tag220.xml"/><Relationship Id="rId10" Type="http://schemas.openxmlformats.org/officeDocument/2006/relationships/tags" Target="../tags/tag225.xml"/><Relationship Id="rId4" Type="http://schemas.openxmlformats.org/officeDocument/2006/relationships/tags" Target="../tags/tag219.xml"/><Relationship Id="rId9" Type="http://schemas.openxmlformats.org/officeDocument/2006/relationships/tags" Target="../tags/tag22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33.xml"/><Relationship Id="rId3" Type="http://schemas.openxmlformats.org/officeDocument/2006/relationships/tags" Target="../tags/tag228.xml"/><Relationship Id="rId7" Type="http://schemas.openxmlformats.org/officeDocument/2006/relationships/tags" Target="../tags/tag232.xml"/><Relationship Id="rId2" Type="http://schemas.openxmlformats.org/officeDocument/2006/relationships/tags" Target="../tags/tag227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31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3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29.xml"/><Relationship Id="rId9" Type="http://schemas.openxmlformats.org/officeDocument/2006/relationships/tags" Target="../tags/tag23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34.vml"/><Relationship Id="rId6" Type="http://schemas.openxmlformats.org/officeDocument/2006/relationships/tags" Target="../tags/tag239.xml"/><Relationship Id="rId5" Type="http://schemas.openxmlformats.org/officeDocument/2006/relationships/tags" Target="../tags/tag238.xml"/><Relationship Id="rId4" Type="http://schemas.openxmlformats.org/officeDocument/2006/relationships/tags" Target="../tags/tag237.xml"/><Relationship Id="rId9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247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242.xml"/><Relationship Id="rId7" Type="http://schemas.openxmlformats.org/officeDocument/2006/relationships/tags" Target="../tags/tag246.xml"/><Relationship Id="rId12" Type="http://schemas.openxmlformats.org/officeDocument/2006/relationships/tags" Target="../tags/tag251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35.vml"/><Relationship Id="rId6" Type="http://schemas.openxmlformats.org/officeDocument/2006/relationships/tags" Target="../tags/tag245.xml"/><Relationship Id="rId11" Type="http://schemas.openxmlformats.org/officeDocument/2006/relationships/tags" Target="../tags/tag250.xml"/><Relationship Id="rId5" Type="http://schemas.openxmlformats.org/officeDocument/2006/relationships/tags" Target="../tags/tag244.xml"/><Relationship Id="rId10" Type="http://schemas.openxmlformats.org/officeDocument/2006/relationships/tags" Target="../tags/tag249.xml"/><Relationship Id="rId4" Type="http://schemas.openxmlformats.org/officeDocument/2006/relationships/tags" Target="../tags/tag243.xml"/><Relationship Id="rId9" Type="http://schemas.openxmlformats.org/officeDocument/2006/relationships/tags" Target="../tags/tag248.xml"/><Relationship Id="rId1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56.xml"/><Relationship Id="rId11" Type="http://schemas.openxmlformats.org/officeDocument/2006/relationships/oleObject" Target="../embeddings/oleObject36.bin"/><Relationship Id="rId5" Type="http://schemas.openxmlformats.org/officeDocument/2006/relationships/tags" Target="../tags/tag25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254.xml"/><Relationship Id="rId9" Type="http://schemas.openxmlformats.org/officeDocument/2006/relationships/tags" Target="../tags/tag25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5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7.xml"/><Relationship Id="rId7" Type="http://schemas.openxmlformats.org/officeDocument/2006/relationships/tags" Target="../tags/tag3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7.v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8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44.xml"/><Relationship Id="rId13" Type="http://schemas.openxmlformats.org/officeDocument/2006/relationships/tags" Target="../tags/tag49.xml"/><Relationship Id="rId18" Type="http://schemas.openxmlformats.org/officeDocument/2006/relationships/tags" Target="../tags/tag54.xml"/><Relationship Id="rId3" Type="http://schemas.openxmlformats.org/officeDocument/2006/relationships/tags" Target="../tags/tag39.xml"/><Relationship Id="rId21" Type="http://schemas.openxmlformats.org/officeDocument/2006/relationships/tags" Target="../tags/tag57.xml"/><Relationship Id="rId7" Type="http://schemas.openxmlformats.org/officeDocument/2006/relationships/tags" Target="../tags/tag43.xml"/><Relationship Id="rId12" Type="http://schemas.openxmlformats.org/officeDocument/2006/relationships/tags" Target="../tags/tag48.xml"/><Relationship Id="rId17" Type="http://schemas.openxmlformats.org/officeDocument/2006/relationships/tags" Target="../tags/tag53.xml"/><Relationship Id="rId25" Type="http://schemas.openxmlformats.org/officeDocument/2006/relationships/oleObject" Target="../embeddings/oleObject9.bin"/><Relationship Id="rId2" Type="http://schemas.openxmlformats.org/officeDocument/2006/relationships/tags" Target="../tags/tag38.xml"/><Relationship Id="rId16" Type="http://schemas.openxmlformats.org/officeDocument/2006/relationships/tags" Target="../tags/tag52.xml"/><Relationship Id="rId20" Type="http://schemas.openxmlformats.org/officeDocument/2006/relationships/tags" Target="../tags/tag5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2.xml"/><Relationship Id="rId11" Type="http://schemas.openxmlformats.org/officeDocument/2006/relationships/tags" Target="../tags/tag47.xml"/><Relationship Id="rId24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15" Type="http://schemas.openxmlformats.org/officeDocument/2006/relationships/tags" Target="../tags/tag51.xml"/><Relationship Id="rId23" Type="http://schemas.openxmlformats.org/officeDocument/2006/relationships/tags" Target="../tags/tag59.xml"/><Relationship Id="rId10" Type="http://schemas.openxmlformats.org/officeDocument/2006/relationships/tags" Target="../tags/tag46.xml"/><Relationship Id="rId19" Type="http://schemas.openxmlformats.org/officeDocument/2006/relationships/tags" Target="../tags/tag55.xml"/><Relationship Id="rId4" Type="http://schemas.openxmlformats.org/officeDocument/2006/relationships/tags" Target="../tags/tag40.xml"/><Relationship Id="rId9" Type="http://schemas.openxmlformats.org/officeDocument/2006/relationships/tags" Target="../tags/tag45.xml"/><Relationship Id="rId14" Type="http://schemas.openxmlformats.org/officeDocument/2006/relationships/tags" Target="../tags/tag50.xml"/><Relationship Id="rId22" Type="http://schemas.openxmlformats.org/officeDocument/2006/relationships/tags" Target="../tags/tag5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60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036" name="Title Placeholder 1"/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455613" y="1548000"/>
            <a:ext cx="8289925" cy="948978"/>
          </a:xfrm>
        </p:spPr>
        <p:txBody>
          <a:bodyPr/>
          <a:lstStyle>
            <a:lvl1pPr>
              <a:lnSpc>
                <a:spcPts val="3700"/>
              </a:lnSpc>
              <a:defRPr sz="3200" smtClean="0">
                <a:latin typeface="Arial" charset="0"/>
              </a:defRPr>
            </a:lvl1pPr>
          </a:lstStyle>
          <a:p>
            <a:r>
              <a:rPr lang="fr-CH" smtClean="0"/>
              <a:t>Titre</a:t>
            </a:r>
            <a:br>
              <a:rPr lang="fr-CH" smtClean="0"/>
            </a:br>
            <a:r>
              <a:rPr lang="fr-CH" smtClean="0"/>
              <a:t>—</a:t>
            </a:r>
            <a:endParaRPr lang="fr-CH" dirty="0" smtClean="0"/>
          </a:p>
        </p:txBody>
      </p:sp>
      <p:sp>
        <p:nvSpPr>
          <p:cNvPr id="44037" name="Text Placeholder 2"/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455613" y="3564000"/>
            <a:ext cx="8289925" cy="274638"/>
          </a:xfrm>
        </p:spPr>
        <p:txBody>
          <a:bodyPr/>
          <a:lstStyle>
            <a:lvl1pPr>
              <a:defRPr sz="1800" smtClean="0">
                <a:latin typeface="Arial" charset="0"/>
              </a:defRPr>
            </a:lvl1pPr>
          </a:lstStyle>
          <a:p>
            <a:r>
              <a:rPr lang="fr-CH" dirty="0" smtClean="0"/>
              <a:t>Cliquer pour insérer un sous-titre</a:t>
            </a:r>
          </a:p>
        </p:txBody>
      </p:sp>
      <p:pic>
        <p:nvPicPr>
          <p:cNvPr id="13" name="Picture 12" descr="logo_etat_FR_vers_compacte.jpg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9" name="TextBox 8"/>
          <p:cNvSpPr txBox="1"/>
          <p:nvPr>
            <p:custDataLst>
              <p:tags r:id="rId5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 la sécurité alimentaire</a:t>
            </a:r>
            <a:r>
              <a:rPr lang="fr-CH" sz="1000" b="1" baseline="0" dirty="0" smtClean="0"/>
              <a:t> et des affaires vétérinaires </a:t>
            </a:r>
            <a:r>
              <a:rPr lang="fr-CH" sz="1000" b="0" i="0" dirty="0" smtClean="0"/>
              <a:t>SAAV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 smtClean="0"/>
              <a:t>Amt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für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Lebensmittelsicherheit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und</a:t>
            </a:r>
            <a:r>
              <a:rPr lang="fr-CH" sz="1000" b="1" i="0" baseline="0" dirty="0" smtClean="0"/>
              <a:t> </a:t>
            </a:r>
            <a:r>
              <a:rPr lang="fr-CH" sz="1000" b="1" i="0" baseline="0" dirty="0" err="1" smtClean="0"/>
              <a:t>Veterinärwesen</a:t>
            </a:r>
            <a:r>
              <a:rPr lang="fr-CH" sz="1000" b="1" i="0" baseline="0" dirty="0" smtClean="0"/>
              <a:t> </a:t>
            </a:r>
            <a:r>
              <a:rPr lang="fr-CH" sz="1000" b="0" i="0" dirty="0" smtClean="0"/>
              <a:t>LSVW</a:t>
            </a:r>
          </a:p>
        </p:txBody>
      </p:sp>
      <p:sp>
        <p:nvSpPr>
          <p:cNvPr id="10" name="TextBox 9"/>
          <p:cNvSpPr txBox="1"/>
          <p:nvPr>
            <p:custDataLst>
              <p:tags r:id="rId6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Direction</a:t>
            </a:r>
            <a:r>
              <a:rPr lang="fr-CH" sz="1000" b="0" i="0" baseline="0" dirty="0" smtClean="0"/>
              <a:t> des institutions, de l’agriculture et des forêts </a:t>
            </a:r>
            <a:r>
              <a:rPr lang="fr-CH" sz="1000" b="1" dirty="0" smtClean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 smtClean="0"/>
              <a:t>Direktion</a:t>
            </a:r>
            <a:r>
              <a:rPr lang="fr-CH" sz="1000" b="0" i="0" dirty="0" smtClean="0"/>
              <a:t> der </a:t>
            </a:r>
            <a:r>
              <a:rPr lang="fr-CH" sz="1000" b="0" i="0" dirty="0" err="1" smtClean="0"/>
              <a:t>Institutionen</a:t>
            </a:r>
            <a:r>
              <a:rPr lang="fr-CH" sz="1000" b="0" i="0" baseline="0" dirty="0" smtClean="0"/>
              <a:t> </a:t>
            </a:r>
            <a:r>
              <a:rPr lang="fr-CH" sz="1000" b="0" i="0" baseline="0" dirty="0" err="1" smtClean="0"/>
              <a:t>und</a:t>
            </a:r>
            <a:r>
              <a:rPr lang="fr-CH" sz="1000" b="0" i="0" baseline="0" dirty="0" smtClean="0"/>
              <a:t> der Land- </a:t>
            </a:r>
            <a:r>
              <a:rPr lang="fr-CH" sz="1000" b="0" i="0" baseline="0" dirty="0" err="1" smtClean="0"/>
              <a:t>und</a:t>
            </a:r>
            <a:r>
              <a:rPr lang="fr-CH" sz="1000" b="0" i="0" baseline="0" dirty="0" smtClean="0"/>
              <a:t> </a:t>
            </a:r>
            <a:r>
              <a:rPr lang="fr-CH" sz="1000" b="0" i="0" baseline="0" dirty="0" err="1" smtClean="0"/>
              <a:t>Forstwirtschaft</a:t>
            </a:r>
            <a:r>
              <a:rPr lang="fr-CH" sz="1000" b="0" i="0" baseline="0" dirty="0" smtClean="0"/>
              <a:t> </a:t>
            </a:r>
            <a:r>
              <a:rPr lang="fr-CH" sz="1000" b="1" i="0" dirty="0" smtClean="0"/>
              <a:t>ILFD</a:t>
            </a:r>
            <a:endParaRPr lang="fr-CH" sz="1000" b="0" i="0" dirty="0" smtClean="0"/>
          </a:p>
        </p:txBody>
      </p:sp>
      <p:cxnSp>
        <p:nvCxnSpPr>
          <p:cNvPr id="8" name="Straight Connector 7"/>
          <p:cNvCxnSpPr/>
          <p:nvPr>
            <p:custDataLst>
              <p:tags r:id="rId7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2" name="Picture 12" descr="logo_etat_FR_vers_compacte.jp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/>
          <a:stretch>
            <a:fillRect/>
          </a:stretch>
        </p:blipFill>
        <p:spPr>
          <a:xfrm>
            <a:off x="468000" y="417600"/>
            <a:ext cx="1584000" cy="607789"/>
          </a:xfrm>
          <a:prstGeom prst="rect">
            <a:avLst/>
          </a:prstGeom>
        </p:spPr>
      </p:pic>
      <p:sp>
        <p:nvSpPr>
          <p:cNvPr id="14" name="TextBox 8"/>
          <p:cNvSpPr txBox="1"/>
          <p:nvPr userDrawn="1">
            <p:custDataLst>
              <p:tags r:id="rId9"/>
            </p:custDataLst>
          </p:nvPr>
        </p:nvSpPr>
        <p:spPr>
          <a:xfrm>
            <a:off x="2514600" y="363600"/>
            <a:ext cx="5164138" cy="3590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 la sécurité alimentaire</a:t>
            </a:r>
            <a:r>
              <a:rPr lang="fr-CH" sz="1000" b="1" baseline="0" dirty="0" smtClean="0"/>
              <a:t> et des affaires vétérinaires </a:t>
            </a:r>
            <a:r>
              <a:rPr lang="fr-CH" sz="1000" b="0" i="0" dirty="0" smtClean="0"/>
              <a:t>SAAV</a:t>
            </a:r>
          </a:p>
          <a:p>
            <a:pPr algn="l">
              <a:lnSpc>
                <a:spcPts val="135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i="0" dirty="0" err="1" smtClean="0"/>
              <a:t>Amt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für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Lebensmittelsicherheit</a:t>
            </a:r>
            <a:r>
              <a:rPr lang="fr-CH" sz="1000" b="1" i="0" dirty="0" smtClean="0"/>
              <a:t> </a:t>
            </a:r>
            <a:r>
              <a:rPr lang="fr-CH" sz="1000" b="1" i="0" dirty="0" err="1" smtClean="0"/>
              <a:t>und</a:t>
            </a:r>
            <a:r>
              <a:rPr lang="fr-CH" sz="1000" b="1" i="0" baseline="0" dirty="0" smtClean="0"/>
              <a:t> </a:t>
            </a:r>
            <a:r>
              <a:rPr lang="fr-CH" sz="1000" b="1" i="0" baseline="0" dirty="0" err="1" smtClean="0"/>
              <a:t>Veterinärwesen</a:t>
            </a:r>
            <a:r>
              <a:rPr lang="fr-CH" sz="1000" b="1" i="0" baseline="0" dirty="0" smtClean="0"/>
              <a:t> </a:t>
            </a:r>
            <a:r>
              <a:rPr lang="fr-CH" sz="1000" b="0" i="0" dirty="0" smtClean="0"/>
              <a:t>LSVW</a:t>
            </a:r>
          </a:p>
        </p:txBody>
      </p:sp>
      <p:sp>
        <p:nvSpPr>
          <p:cNvPr id="15" name="TextBox 9"/>
          <p:cNvSpPr txBox="1"/>
          <p:nvPr userDrawn="1">
            <p:custDataLst>
              <p:tags r:id="rId10"/>
            </p:custDataLst>
          </p:nvPr>
        </p:nvSpPr>
        <p:spPr>
          <a:xfrm>
            <a:off x="468000" y="6147687"/>
            <a:ext cx="5354638" cy="498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—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smtClean="0"/>
              <a:t>Direction</a:t>
            </a:r>
            <a:r>
              <a:rPr lang="fr-CH" sz="1000" b="0" i="0" baseline="0" dirty="0" smtClean="0"/>
              <a:t> des institutions, de l’agriculture et des forêts </a:t>
            </a:r>
            <a:r>
              <a:rPr lang="fr-CH" sz="1000" b="1" dirty="0" smtClean="0"/>
              <a:t>DIAF</a:t>
            </a:r>
          </a:p>
          <a:p>
            <a:pPr algn="l">
              <a:lnSpc>
                <a:spcPts val="13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0" i="0" dirty="0" err="1" smtClean="0"/>
              <a:t>Direktion</a:t>
            </a:r>
            <a:r>
              <a:rPr lang="fr-CH" sz="1000" b="0" i="0" dirty="0" smtClean="0"/>
              <a:t> der </a:t>
            </a:r>
            <a:r>
              <a:rPr lang="fr-CH" sz="1000" b="0" i="0" dirty="0" err="1" smtClean="0"/>
              <a:t>Institutionen</a:t>
            </a:r>
            <a:r>
              <a:rPr lang="fr-CH" sz="1000" b="0" i="0" baseline="0" dirty="0" smtClean="0"/>
              <a:t> </a:t>
            </a:r>
            <a:r>
              <a:rPr lang="fr-CH" sz="1000" b="0" i="0" baseline="0" dirty="0" err="1" smtClean="0"/>
              <a:t>und</a:t>
            </a:r>
            <a:r>
              <a:rPr lang="fr-CH" sz="1000" b="0" i="0" baseline="0" dirty="0" smtClean="0"/>
              <a:t> der Land- </a:t>
            </a:r>
            <a:r>
              <a:rPr lang="fr-CH" sz="1000" b="0" i="0" baseline="0" dirty="0" err="1" smtClean="0"/>
              <a:t>und</a:t>
            </a:r>
            <a:r>
              <a:rPr lang="fr-CH" sz="1000" b="0" i="0" baseline="0" dirty="0" smtClean="0"/>
              <a:t> </a:t>
            </a:r>
            <a:r>
              <a:rPr lang="fr-CH" sz="1000" b="0" i="0" baseline="0" dirty="0" err="1" smtClean="0"/>
              <a:t>Forstwirtschaft</a:t>
            </a:r>
            <a:r>
              <a:rPr lang="fr-CH" sz="1000" b="0" i="0" baseline="0" dirty="0" smtClean="0"/>
              <a:t> </a:t>
            </a:r>
            <a:r>
              <a:rPr lang="fr-CH" sz="1000" b="1" i="0" dirty="0" smtClean="0"/>
              <a:t>ILFD</a:t>
            </a:r>
            <a:endParaRPr lang="fr-CH" sz="1000" b="0" i="0" dirty="0" smtClean="0"/>
          </a:p>
        </p:txBody>
      </p:sp>
      <p:cxnSp>
        <p:nvCxnSpPr>
          <p:cNvPr id="16" name="Straight Connector 7"/>
          <p:cNvCxnSpPr/>
          <p:nvPr userDrawn="1">
            <p:custDataLst>
              <p:tags r:id="rId11"/>
            </p:custDataLst>
          </p:nvPr>
        </p:nvCxnSpPr>
        <p:spPr>
          <a:xfrm>
            <a:off x="450000" y="12636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7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0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24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4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72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96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2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44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68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6000"/>
            <a:ext cx="8242300" cy="474489"/>
          </a:xfrm>
        </p:spPr>
        <p:txBody>
          <a:bodyPr/>
          <a:lstStyle/>
          <a:p>
            <a:r>
              <a:rPr lang="fr-CH" dirty="0" err="1" smtClean="0"/>
              <a:t>Titelmasterformat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7364"/>
            <a:ext cx="34671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84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532870" y="1857364"/>
            <a:ext cx="3329517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532870" y="2297404"/>
            <a:ext cx="3405188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1"/>
            <p:custDataLst>
              <p:tags r:id="rId7"/>
            </p:custDataLst>
          </p:nvPr>
        </p:nvSpPr>
        <p:spPr>
          <a:xfrm>
            <a:off x="532870" y="4178404"/>
            <a:ext cx="3405188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8"/>
            </p:custDataLst>
          </p:nvPr>
        </p:nvSpPr>
        <p:spPr>
          <a:xfrm>
            <a:off x="5067299" y="2297404"/>
            <a:ext cx="34671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2" name="Textplatzhalter 41"/>
          <p:cNvSpPr>
            <a:spLocks noGrp="1"/>
          </p:cNvSpPr>
          <p:nvPr>
            <p:ph type="body" sz="quarter" idx="23"/>
            <p:custDataLst>
              <p:tags r:id="rId9"/>
            </p:custDataLst>
          </p:nvPr>
        </p:nvSpPr>
        <p:spPr>
          <a:xfrm>
            <a:off x="5067299" y="4178404"/>
            <a:ext cx="34671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84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903" name="think-cell Slide" r:id="rId3" imgW="0" imgH="0" progId="">
                  <p:embed/>
                </p:oleObj>
              </mc:Choice>
              <mc:Fallback>
                <p:oleObj name="think-cell Slide" r:id="rId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927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Modifiez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7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5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ligne 2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35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83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 smtClean="0"/>
              <a:t>Titelmasterformat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99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 smtClean="0"/>
              <a:t>Titelmasterformat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5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Foto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79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57199" y="1766400"/>
            <a:ext cx="8242301" cy="307777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4572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  <p:sp>
        <p:nvSpPr>
          <p:cNvPr id="5" name="Bildplatzhalter 3"/>
          <p:cNvSpPr>
            <a:spLocks noGrp="1"/>
          </p:cNvSpPr>
          <p:nvPr>
            <p:ph type="pic" sz="quarter" idx="11"/>
          </p:nvPr>
        </p:nvSpPr>
        <p:spPr>
          <a:xfrm>
            <a:off x="4667500" y="1371600"/>
            <a:ext cx="4032000" cy="4644000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0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457200" y="1327200"/>
            <a:ext cx="8242300" cy="1692771"/>
          </a:xfrm>
        </p:spPr>
        <p:txBody>
          <a:bodyPr/>
          <a:lstStyle>
            <a:lvl1pPr marL="358775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  <a:defRPr/>
            </a:lvl1pPr>
          </a:lstStyle>
          <a:p>
            <a:pPr marL="358775" lvl="0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Modifiez les styles du texte du masque</a:t>
            </a:r>
          </a:p>
          <a:p>
            <a:pPr marL="358775" lvl="1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Deuxième niveau</a:t>
            </a:r>
          </a:p>
          <a:p>
            <a:pPr marL="358775" lvl="2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Troisième niveau</a:t>
            </a:r>
          </a:p>
          <a:p>
            <a:pPr marL="358775" lvl="3" indent="-358775">
              <a:spcAft>
                <a:spcPct val="50000"/>
              </a:spcAft>
              <a:buClr>
                <a:schemeClr val="tx1"/>
              </a:buClr>
              <a:buFont typeface="Lucida Grande" pitchFamily="-112" charset="0"/>
              <a:buAutoNum type="arabicPeriod"/>
            </a:pPr>
            <a:r>
              <a:rPr lang="fr-FR" b="1" smtClean="0">
                <a:latin typeface="Arial" charset="0"/>
              </a:rPr>
              <a:t>Quatrième niveau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71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407920"/>
            <a:ext cx="8242300" cy="1846659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rozess 6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kt 2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023" name="think-cell Slide" r:id="rId17" imgW="0" imgH="0" progId="">
                  <p:embed/>
                </p:oleObj>
              </mc:Choice>
              <mc:Fallback>
                <p:oleObj name="think-cell Slide" r:id="rId1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57322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573226" y="3113577"/>
            <a:ext cx="1260000" cy="153888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2032186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2032186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3363702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3363702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9"/>
            </p:custDataLst>
          </p:nvPr>
        </p:nvSpPr>
        <p:spPr>
          <a:xfrm>
            <a:off x="469521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10"/>
            </p:custDataLst>
          </p:nvPr>
        </p:nvSpPr>
        <p:spPr>
          <a:xfrm>
            <a:off x="469521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11"/>
            </p:custDataLst>
          </p:nvPr>
        </p:nvSpPr>
        <p:spPr>
          <a:xfrm>
            <a:off x="6026733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12"/>
            </p:custDataLst>
          </p:nvPr>
        </p:nvSpPr>
        <p:spPr>
          <a:xfrm>
            <a:off x="6026733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3"/>
            </p:custDataLst>
          </p:nvPr>
        </p:nvSpPr>
        <p:spPr>
          <a:xfrm>
            <a:off x="7358248" y="2373243"/>
            <a:ext cx="126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4"/>
            </p:custDataLst>
          </p:nvPr>
        </p:nvSpPr>
        <p:spPr>
          <a:xfrm>
            <a:off x="7358248" y="3113577"/>
            <a:ext cx="126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extplatzhalter 9"/>
          <p:cNvSpPr>
            <a:spLocks noGrp="1"/>
          </p:cNvSpPr>
          <p:nvPr>
            <p:ph type="body" sz="quarter" idx="13" hasCustomPrompt="1"/>
            <p:custDataLst>
              <p:tags r:id="rId15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rozess 5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kt 3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95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1519237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230723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30723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3929319" y="2373243"/>
            <a:ext cx="1440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3929319" y="3113577"/>
            <a:ext cx="1440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479402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5479402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10"/>
            </p:custDataLst>
          </p:nvPr>
        </p:nvSpPr>
        <p:spPr>
          <a:xfrm>
            <a:off x="7101486" y="2373243"/>
            <a:ext cx="151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1"/>
            </p:custDataLst>
          </p:nvPr>
        </p:nvSpPr>
        <p:spPr>
          <a:xfrm>
            <a:off x="7101486" y="3113577"/>
            <a:ext cx="151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8" name="Titel 1"/>
          <p:cNvSpPr>
            <a:spLocks noGrp="1"/>
          </p:cNvSpPr>
          <p:nvPr>
            <p:ph type="title" hasCustomPrompt="1"/>
            <p:custDataLst>
              <p:tags r:id="rId1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9" name="Textplatzhalter 9"/>
          <p:cNvSpPr>
            <a:spLocks noGrp="1"/>
          </p:cNvSpPr>
          <p:nvPr>
            <p:ph type="body" sz="quarter" idx="13" hasCustomPrompt="1"/>
            <p:custDataLst>
              <p:tags r:id="rId13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rozess 4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143" name="think-cell Slide" r:id="rId13" imgW="0" imgH="0" progId="">
                  <p:embed/>
                </p:oleObj>
              </mc:Choice>
              <mc:Fallback>
                <p:oleObj name="think-cell Slide" r:id="rId13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2"/>
            </p:custDataLst>
          </p:nvPr>
        </p:nvSpPr>
        <p:spPr>
          <a:xfrm>
            <a:off x="573226" y="3113577"/>
            <a:ext cx="1872000" cy="123110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2683200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4"/>
            </p:custDataLst>
          </p:nvPr>
        </p:nvSpPr>
        <p:spPr>
          <a:xfrm>
            <a:off x="4684244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6685288" y="3113577"/>
            <a:ext cx="187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2" hasCustomPrompt="1"/>
            <p:custDataLst>
              <p:tags r:id="rId6"/>
            </p:custDataLst>
          </p:nvPr>
        </p:nvSpPr>
        <p:spPr>
          <a:xfrm>
            <a:off x="573226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2683200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84244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685288" y="2373243"/>
            <a:ext cx="187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10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6" name="Textplatzhalter 9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rozess 3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67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2592000" cy="923330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4"/>
            </p:custDataLst>
          </p:nvPr>
        </p:nvSpPr>
        <p:spPr>
          <a:xfrm>
            <a:off x="3383379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22" hasCustomPrompt="1"/>
            <p:custDataLst>
              <p:tags r:id="rId5"/>
            </p:custDataLst>
          </p:nvPr>
        </p:nvSpPr>
        <p:spPr>
          <a:xfrm>
            <a:off x="3383379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6"/>
            </p:custDataLst>
          </p:nvPr>
        </p:nvSpPr>
        <p:spPr>
          <a:xfrm>
            <a:off x="6047204" y="2373243"/>
            <a:ext cx="259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6047204" y="3113577"/>
            <a:ext cx="25920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  <p:custDataLst>
              <p:tags r:id="rId8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2" name="Textplatzhalter 9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rozess 2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119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573226" y="2373243"/>
            <a:ext cx="40320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573226" y="3113577"/>
            <a:ext cx="4032000" cy="615553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4"/>
            </p:custDataLst>
          </p:nvPr>
        </p:nvSpPr>
        <p:spPr>
          <a:xfrm>
            <a:off x="4714876" y="2373243"/>
            <a:ext cx="38608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5"/>
            </p:custDataLst>
          </p:nvPr>
        </p:nvSpPr>
        <p:spPr>
          <a:xfrm>
            <a:off x="4714876" y="3113577"/>
            <a:ext cx="3860800" cy="307777"/>
          </a:xfrm>
        </p:spPr>
        <p:txBody>
          <a:bodyPr wrap="square">
            <a:spAutoFit/>
          </a:bodyPr>
          <a:lstStyle>
            <a:lvl1pPr>
              <a:defRPr b="0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1" name="Textplatzhalter 9"/>
          <p:cNvSpPr>
            <a:spLocks noGrp="1"/>
          </p:cNvSpPr>
          <p:nvPr>
            <p:ph type="body" sz="quarter" idx="13" hasCustomPrompt="1"/>
            <p:custDataLst>
              <p:tags r:id="rId7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Zeitpl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91" name="think-cell Slide" r:id="rId14" imgW="0" imgH="0" progId="">
                  <p:embed/>
                </p:oleObj>
              </mc:Choice>
              <mc:Fallback>
                <p:oleObj name="think-cell Slide" r:id="rId14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platzhalter 7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457200" y="2126400"/>
            <a:ext cx="2386012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4"/>
            <p:custDataLst>
              <p:tags r:id="rId3"/>
            </p:custDataLst>
          </p:nvPr>
        </p:nvSpPr>
        <p:spPr>
          <a:xfrm>
            <a:off x="457199" y="2492375"/>
            <a:ext cx="2386013" cy="492443"/>
          </a:xfrm>
        </p:spPr>
        <p:txBody>
          <a:bodyPr wrap="square">
            <a:spAutoFit/>
          </a:bodyPr>
          <a:lstStyle>
            <a:lvl1pPr>
              <a:defRPr sz="1600"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6" name="Textplatzhalter 7"/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2965451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7" name="Textplatzhalter 7"/>
          <p:cNvSpPr>
            <a:spLocks noGrp="1"/>
          </p:cNvSpPr>
          <p:nvPr>
            <p:ph type="body" sz="quarter" idx="16" hasCustomPrompt="1"/>
            <p:custDataLst>
              <p:tags r:id="rId5"/>
            </p:custDataLst>
          </p:nvPr>
        </p:nvSpPr>
        <p:spPr>
          <a:xfrm>
            <a:off x="2965450" y="1766400"/>
            <a:ext cx="2320930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18" name="Textplatzhalter 7"/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39211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19" hasCustomPrompt="1"/>
            <p:custDataLst>
              <p:tags r:id="rId7"/>
            </p:custDataLst>
          </p:nvPr>
        </p:nvSpPr>
        <p:spPr>
          <a:xfrm>
            <a:off x="487362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5832476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23" hasCustomPrompt="1"/>
            <p:custDataLst>
              <p:tags r:id="rId9"/>
            </p:custDataLst>
          </p:nvPr>
        </p:nvSpPr>
        <p:spPr>
          <a:xfrm>
            <a:off x="6786564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25" name="Textplatzhalter 7"/>
          <p:cNvSpPr>
            <a:spLocks noGrp="1"/>
          </p:cNvSpPr>
          <p:nvPr>
            <p:ph type="body" sz="quarter" idx="24" hasCustomPrompt="1"/>
            <p:custDataLst>
              <p:tags r:id="rId10"/>
            </p:custDataLst>
          </p:nvPr>
        </p:nvSpPr>
        <p:spPr>
          <a:xfrm>
            <a:off x="7745412" y="2126400"/>
            <a:ext cx="954088" cy="246221"/>
          </a:xfrm>
        </p:spPr>
        <p:txBody>
          <a:bodyPr wrap="square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  <p:custDataLst>
              <p:tags r:id="rId11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9"/>
          <p:cNvSpPr>
            <a:spLocks noGrp="1"/>
          </p:cNvSpPr>
          <p:nvPr>
            <p:ph type="body" sz="quarter" idx="13" hasCustomPrompt="1"/>
            <p:custDataLst>
              <p:tags r:id="rId12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87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6000"/>
            <a:ext cx="8242300" cy="474489"/>
          </a:xfrm>
        </p:spPr>
        <p:txBody>
          <a:bodyPr/>
          <a:lstStyle/>
          <a:p>
            <a:r>
              <a:rPr lang="fr-CH" dirty="0" err="1" smtClean="0"/>
              <a:t>Titelmasterformat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7364"/>
            <a:ext cx="34671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84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532870" y="1857364"/>
            <a:ext cx="3329517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532870" y="2297404"/>
            <a:ext cx="3405188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38" name="Textplatzhalter 37"/>
          <p:cNvSpPr>
            <a:spLocks noGrp="1"/>
          </p:cNvSpPr>
          <p:nvPr>
            <p:ph type="body" sz="quarter" idx="21"/>
            <p:custDataLst>
              <p:tags r:id="rId7"/>
            </p:custDataLst>
          </p:nvPr>
        </p:nvSpPr>
        <p:spPr>
          <a:xfrm>
            <a:off x="532870" y="4178404"/>
            <a:ext cx="3405188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8"/>
            </p:custDataLst>
          </p:nvPr>
        </p:nvSpPr>
        <p:spPr>
          <a:xfrm>
            <a:off x="5067299" y="2297404"/>
            <a:ext cx="34671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2" name="Textplatzhalter 41"/>
          <p:cNvSpPr>
            <a:spLocks noGrp="1"/>
          </p:cNvSpPr>
          <p:nvPr>
            <p:ph type="body" sz="quarter" idx="23"/>
            <p:custDataLst>
              <p:tags r:id="rId9"/>
            </p:custDataLst>
          </p:nvPr>
        </p:nvSpPr>
        <p:spPr>
          <a:xfrm>
            <a:off x="5067299" y="4178404"/>
            <a:ext cx="34671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3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1767141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3278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el zweizeilig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56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1477328"/>
          </a:xfrm>
        </p:spPr>
        <p:txBody>
          <a:bodyPr/>
          <a:lstStyle>
            <a:lvl1pPr>
              <a:defRPr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ligne 2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266800"/>
            <a:ext cx="8242300" cy="1846659"/>
          </a:xfrm>
        </p:spPr>
        <p:txBody>
          <a:bodyPr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457200" y="18240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zweispaltiger Text mit Faz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80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5197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fr-CH" dirty="0" smtClean="0"/>
              <a:t>Titel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067299" y="1858223"/>
            <a:ext cx="3632201" cy="307777"/>
          </a:xfrm>
        </p:spPr>
        <p:txBody>
          <a:bodyPr wrap="square">
            <a:spAutoFit/>
          </a:bodyPr>
          <a:lstStyle>
            <a:lvl1pPr>
              <a:spcAft>
                <a:spcPts val="0"/>
              </a:spcAft>
              <a:defRPr sz="2000" b="1"/>
            </a:lvl1pPr>
            <a:lvl2pPr>
              <a:defRPr sz="1800" b="1"/>
            </a:lvl2pPr>
            <a:lvl3pPr>
              <a:defRPr sz="1800" b="1"/>
            </a:lvl3pPr>
            <a:lvl4pPr>
              <a:defRPr sz="1800" b="1"/>
            </a:lvl4pPr>
            <a:lvl5pPr>
              <a:defRPr sz="1800" b="1"/>
            </a:lvl5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32" name="Textplatzhalter 31"/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457200" y="1327200"/>
            <a:ext cx="8242300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34" name="Textplatzhalter 33"/>
          <p:cNvSpPr>
            <a:spLocks noGrp="1"/>
          </p:cNvSpPr>
          <p:nvPr>
            <p:ph type="body" sz="quarter" idx="19" hasCustomPrompt="1"/>
            <p:custDataLst>
              <p:tags r:id="rId5"/>
            </p:custDataLst>
          </p:nvPr>
        </p:nvSpPr>
        <p:spPr>
          <a:xfrm>
            <a:off x="457200" y="1858223"/>
            <a:ext cx="3632400" cy="307777"/>
          </a:xfrm>
        </p:spPr>
        <p:txBody>
          <a:bodyPr wrap="square">
            <a:spAutoFit/>
          </a:bodyPr>
          <a:lstStyle>
            <a:lvl1pPr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36" name="Textplatzhalter 35"/>
          <p:cNvSpPr>
            <a:spLocks noGrp="1"/>
          </p:cNvSpPr>
          <p:nvPr>
            <p:ph type="body" sz="quarter" idx="20"/>
            <p:custDataLst>
              <p:tags r:id="rId6"/>
            </p:custDataLst>
          </p:nvPr>
        </p:nvSpPr>
        <p:spPr>
          <a:xfrm>
            <a:off x="457200" y="2221364"/>
            <a:ext cx="363240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22"/>
            <p:custDataLst>
              <p:tags r:id="rId7"/>
            </p:custDataLst>
          </p:nvPr>
        </p:nvSpPr>
        <p:spPr>
          <a:xfrm>
            <a:off x="5067299" y="2221364"/>
            <a:ext cx="3632201" cy="2154436"/>
          </a:xfrm>
        </p:spPr>
        <p:txBody>
          <a:bodyPr wrap="square"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04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err="1" smtClean="0"/>
              <a:t>Titelmasterformat</a:t>
            </a:r>
            <a:r>
              <a:rPr lang="fr-CH" dirty="0" smtClean="0"/>
              <a:t> </a:t>
            </a:r>
            <a:r>
              <a:rPr lang="fr-CH" dirty="0" err="1" smtClean="0"/>
              <a:t>bearbeiten</a:t>
            </a:r>
            <a:r>
              <a:rPr lang="fr-CH" dirty="0" smtClean="0"/>
              <a:t/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457200" y="1328400"/>
            <a:ext cx="8203248" cy="369332"/>
          </a:xfrm>
        </p:spPr>
        <p:txBody>
          <a:bodyPr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21" name="Textplatzhalter 20"/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457200" y="1857600"/>
            <a:ext cx="3680460" cy="307777"/>
          </a:xfrm>
        </p:spPr>
        <p:txBody>
          <a:bodyPr/>
          <a:lstStyle>
            <a:lvl1pPr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8"/>
            <p:custDataLst>
              <p:tags r:id="rId5"/>
            </p:custDataLst>
          </p:nvPr>
        </p:nvSpPr>
        <p:spPr>
          <a:xfrm>
            <a:off x="457200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25" name="Textplatzhalter 24"/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979988" y="1857600"/>
            <a:ext cx="3680460" cy="307777"/>
          </a:xfrm>
        </p:spPr>
        <p:txBody>
          <a:bodyPr/>
          <a:lstStyle>
            <a:lvl1pPr>
              <a:defRPr b="1"/>
            </a:lvl1pPr>
          </a:lstStyle>
          <a:p>
            <a:pPr lvl="0"/>
            <a:r>
              <a:rPr lang="fr-CH" dirty="0" smtClean="0"/>
              <a:t>Titel</a:t>
            </a:r>
            <a:endParaRPr lang="fr-CH" dirty="0"/>
          </a:p>
        </p:txBody>
      </p:sp>
      <p:sp>
        <p:nvSpPr>
          <p:cNvPr id="27" name="Textplatzhalter 26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4979988" y="2297400"/>
            <a:ext cx="3680460" cy="2154436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" name="Objekt 7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28" name="think-cell Slide" r:id="rId25" imgW="0" imgH="0" progId="">
                  <p:embed/>
                </p:oleObj>
              </mc:Choice>
              <mc:Fallback>
                <p:oleObj name="think-cell Slide" r:id="rId25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457200" y="304800"/>
            <a:ext cx="8242298" cy="951970"/>
          </a:xfrm>
        </p:spPr>
        <p:txBody>
          <a:bodyPr/>
          <a:lstStyle/>
          <a:p>
            <a:r>
              <a:rPr lang="fr-CH" dirty="0" smtClean="0"/>
              <a:t>Titelmasterformat bearbeiten</a:t>
            </a:r>
            <a:br>
              <a:rPr lang="fr-CH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40" name="Textplatzhalter 39"/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457200" y="1860000"/>
            <a:ext cx="16002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dirty="0" err="1" smtClean="0"/>
              <a:t>Titel</a:t>
            </a:r>
            <a:endParaRPr lang="fr-CH" dirty="0"/>
          </a:p>
        </p:txBody>
      </p:sp>
      <p:sp>
        <p:nvSpPr>
          <p:cNvPr id="41" name="Textplatzhalter 39"/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2268538" y="1860000"/>
            <a:ext cx="1602000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2" name="Textplatzhalter 39"/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4081462" y="1860000"/>
            <a:ext cx="2797175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44" name="Textplatzhalter 39"/>
          <p:cNvSpPr>
            <a:spLocks noGrp="1"/>
          </p:cNvSpPr>
          <p:nvPr>
            <p:ph type="body" sz="quarter" idx="15" hasCustomPrompt="1"/>
            <p:custDataLst>
              <p:tags r:id="rId6"/>
            </p:custDataLst>
          </p:nvPr>
        </p:nvSpPr>
        <p:spPr>
          <a:xfrm>
            <a:off x="7072312" y="1860000"/>
            <a:ext cx="1627187" cy="307777"/>
          </a:xfrm>
        </p:spPr>
        <p:txBody>
          <a:bodyPr/>
          <a:lstStyle>
            <a:lvl1pPr>
              <a:spcAft>
                <a:spcPts val="600"/>
              </a:spcAft>
              <a:defRPr b="1"/>
            </a:lvl1pPr>
          </a:lstStyle>
          <a:p>
            <a:pPr lvl="0"/>
            <a:r>
              <a:rPr lang="fr-CH" smtClean="0"/>
              <a:t>Titel</a:t>
            </a:r>
            <a:endParaRPr lang="fr-CH" dirty="0"/>
          </a:p>
        </p:txBody>
      </p:sp>
      <p:sp>
        <p:nvSpPr>
          <p:cNvPr id="50" name="Textplatzhalter 49"/>
          <p:cNvSpPr>
            <a:spLocks noGrp="1"/>
          </p:cNvSpPr>
          <p:nvPr>
            <p:ph type="body" sz="quarter" idx="16"/>
            <p:custDataLst>
              <p:tags r:id="rId7"/>
            </p:custDataLst>
          </p:nvPr>
        </p:nvSpPr>
        <p:spPr>
          <a:xfrm>
            <a:off x="501649" y="237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1" name="Textplatzhalter 49"/>
          <p:cNvSpPr>
            <a:spLocks noGrp="1"/>
          </p:cNvSpPr>
          <p:nvPr>
            <p:ph type="body" sz="quarter" idx="17"/>
            <p:custDataLst>
              <p:tags r:id="rId8"/>
            </p:custDataLst>
          </p:nvPr>
        </p:nvSpPr>
        <p:spPr>
          <a:xfrm>
            <a:off x="2268538" y="237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2" name="Textplatzhalter 49"/>
          <p:cNvSpPr>
            <a:spLocks noGrp="1"/>
          </p:cNvSpPr>
          <p:nvPr>
            <p:ph type="body" sz="quarter" idx="18"/>
            <p:custDataLst>
              <p:tags r:id="rId9"/>
            </p:custDataLst>
          </p:nvPr>
        </p:nvSpPr>
        <p:spPr>
          <a:xfrm>
            <a:off x="4081462" y="237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3" name="Textplatzhalter 49"/>
          <p:cNvSpPr>
            <a:spLocks noGrp="1"/>
          </p:cNvSpPr>
          <p:nvPr>
            <p:ph type="body" sz="quarter" idx="19"/>
            <p:custDataLst>
              <p:tags r:id="rId10"/>
            </p:custDataLst>
          </p:nvPr>
        </p:nvSpPr>
        <p:spPr>
          <a:xfrm>
            <a:off x="7110398" y="237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4" name="Textplatzhalter 49"/>
          <p:cNvSpPr>
            <a:spLocks noGrp="1"/>
          </p:cNvSpPr>
          <p:nvPr>
            <p:ph type="body" sz="quarter" idx="20"/>
            <p:custDataLst>
              <p:tags r:id="rId11"/>
            </p:custDataLst>
          </p:nvPr>
        </p:nvSpPr>
        <p:spPr>
          <a:xfrm>
            <a:off x="499850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5" name="Textplatzhalter 49"/>
          <p:cNvSpPr>
            <a:spLocks noGrp="1"/>
          </p:cNvSpPr>
          <p:nvPr>
            <p:ph type="body" sz="quarter" idx="21"/>
            <p:custDataLst>
              <p:tags r:id="rId12"/>
            </p:custDataLst>
          </p:nvPr>
        </p:nvSpPr>
        <p:spPr>
          <a:xfrm>
            <a:off x="2268538" y="309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6" name="Textplatzhalter 49"/>
          <p:cNvSpPr>
            <a:spLocks noGrp="1"/>
          </p:cNvSpPr>
          <p:nvPr>
            <p:ph type="body" sz="quarter" idx="22"/>
            <p:custDataLst>
              <p:tags r:id="rId13"/>
            </p:custDataLst>
          </p:nvPr>
        </p:nvSpPr>
        <p:spPr>
          <a:xfrm>
            <a:off x="4081462" y="309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7" name="Textplatzhalter 49"/>
          <p:cNvSpPr>
            <a:spLocks noGrp="1"/>
          </p:cNvSpPr>
          <p:nvPr>
            <p:ph type="body" sz="quarter" idx="23"/>
            <p:custDataLst>
              <p:tags r:id="rId14"/>
            </p:custDataLst>
          </p:nvPr>
        </p:nvSpPr>
        <p:spPr>
          <a:xfrm>
            <a:off x="7110398" y="309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8" name="Textplatzhalter 49"/>
          <p:cNvSpPr>
            <a:spLocks noGrp="1"/>
          </p:cNvSpPr>
          <p:nvPr>
            <p:ph type="body" sz="quarter" idx="24"/>
            <p:custDataLst>
              <p:tags r:id="rId15"/>
            </p:custDataLst>
          </p:nvPr>
        </p:nvSpPr>
        <p:spPr>
          <a:xfrm>
            <a:off x="501650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9" name="Textplatzhalter 49"/>
          <p:cNvSpPr>
            <a:spLocks noGrp="1"/>
          </p:cNvSpPr>
          <p:nvPr>
            <p:ph type="body" sz="quarter" idx="25"/>
            <p:custDataLst>
              <p:tags r:id="rId16"/>
            </p:custDataLst>
          </p:nvPr>
        </p:nvSpPr>
        <p:spPr>
          <a:xfrm>
            <a:off x="2268538" y="381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0" name="Textplatzhalter 49"/>
          <p:cNvSpPr>
            <a:spLocks noGrp="1"/>
          </p:cNvSpPr>
          <p:nvPr>
            <p:ph type="body" sz="quarter" idx="26"/>
            <p:custDataLst>
              <p:tags r:id="rId17"/>
            </p:custDataLst>
          </p:nvPr>
        </p:nvSpPr>
        <p:spPr>
          <a:xfrm>
            <a:off x="4081462" y="381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1" name="Textplatzhalter 49"/>
          <p:cNvSpPr>
            <a:spLocks noGrp="1"/>
          </p:cNvSpPr>
          <p:nvPr>
            <p:ph type="body" sz="quarter" idx="27"/>
            <p:custDataLst>
              <p:tags r:id="rId18"/>
            </p:custDataLst>
          </p:nvPr>
        </p:nvSpPr>
        <p:spPr>
          <a:xfrm>
            <a:off x="7110398" y="381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2" name="Textplatzhalter 49"/>
          <p:cNvSpPr>
            <a:spLocks noGrp="1"/>
          </p:cNvSpPr>
          <p:nvPr>
            <p:ph type="body" sz="quarter" idx="28"/>
            <p:custDataLst>
              <p:tags r:id="rId19"/>
            </p:custDataLst>
          </p:nvPr>
        </p:nvSpPr>
        <p:spPr>
          <a:xfrm>
            <a:off x="501649" y="4533323"/>
            <a:ext cx="1601615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3" name="Textplatzhalter 49"/>
          <p:cNvSpPr>
            <a:spLocks noGrp="1"/>
          </p:cNvSpPr>
          <p:nvPr>
            <p:ph type="body" sz="quarter" idx="29"/>
            <p:custDataLst>
              <p:tags r:id="rId20"/>
            </p:custDataLst>
          </p:nvPr>
        </p:nvSpPr>
        <p:spPr>
          <a:xfrm>
            <a:off x="2268538" y="4533323"/>
            <a:ext cx="1602000" cy="1231106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4" name="Textplatzhalter 49"/>
          <p:cNvSpPr>
            <a:spLocks noGrp="1"/>
          </p:cNvSpPr>
          <p:nvPr>
            <p:ph type="body" sz="quarter" idx="30"/>
            <p:custDataLst>
              <p:tags r:id="rId21"/>
            </p:custDataLst>
          </p:nvPr>
        </p:nvSpPr>
        <p:spPr>
          <a:xfrm>
            <a:off x="4081462" y="4533323"/>
            <a:ext cx="2797175" cy="615553"/>
          </a:xfrm>
        </p:spPr>
        <p:txBody>
          <a:bodyPr/>
          <a:lstStyle>
            <a:lvl1pPr>
              <a:spcAft>
                <a:spcPts val="600"/>
              </a:spcAft>
              <a:defRPr/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9" name="Textplatzhalter 68"/>
          <p:cNvSpPr>
            <a:spLocks noGrp="1"/>
          </p:cNvSpPr>
          <p:nvPr>
            <p:ph type="body" sz="quarter" idx="32" hasCustomPrompt="1"/>
            <p:custDataLst>
              <p:tags r:id="rId22"/>
            </p:custDataLst>
          </p:nvPr>
        </p:nvSpPr>
        <p:spPr>
          <a:xfrm>
            <a:off x="457199" y="1327200"/>
            <a:ext cx="8242299" cy="369332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400" b="1" kern="1200" dirty="0" smtClean="0">
                <a:solidFill>
                  <a:schemeClr val="tx2"/>
                </a:solidFill>
                <a:latin typeface="Arial" charset="0"/>
                <a:ea typeface="ＭＳ Ｐゴシック" pitchFamily="-112" charset="-128"/>
                <a:cs typeface="+mn-cs"/>
              </a:defRPr>
            </a:lvl1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  <p:sp>
        <p:nvSpPr>
          <p:cNvPr id="71" name="Textplatzhalter 70"/>
          <p:cNvSpPr>
            <a:spLocks noGrp="1"/>
          </p:cNvSpPr>
          <p:nvPr>
            <p:ph type="body" sz="quarter" idx="33"/>
            <p:custDataLst>
              <p:tags r:id="rId23"/>
            </p:custDataLst>
          </p:nvPr>
        </p:nvSpPr>
        <p:spPr>
          <a:xfrm>
            <a:off x="7110398" y="4533323"/>
            <a:ext cx="1627200" cy="1231106"/>
          </a:xfrm>
        </p:spPr>
        <p:txBody>
          <a:bodyPr/>
          <a:lstStyle>
            <a:lvl1pPr>
              <a:spcAft>
                <a:spcPts val="600"/>
              </a:spcAft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Foto Hoch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5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/>
            <p:custDataLst>
              <p:tags r:id="rId2"/>
            </p:custDataLst>
          </p:nvPr>
        </p:nvSpPr>
        <p:spPr>
          <a:xfrm>
            <a:off x="4800600" y="1327200"/>
            <a:ext cx="3900488" cy="615553"/>
          </a:xfrm>
        </p:spPr>
        <p:txBody>
          <a:bodyPr/>
          <a:lstStyle/>
          <a:p>
            <a:r>
              <a:rPr lang="fr-FR" smtClean="0"/>
              <a:t>Cliquez sur l'icône pour ajouter une image</a:t>
            </a:r>
            <a:endParaRPr lang="fr-CH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57200" y="304800"/>
            <a:ext cx="8242300" cy="984885"/>
          </a:xfrm>
        </p:spPr>
        <p:txBody>
          <a:bodyPr/>
          <a:lstStyle>
            <a:lvl1pPr>
              <a:defRPr/>
            </a:lvl1pPr>
          </a:lstStyle>
          <a:p>
            <a:r>
              <a:rPr lang="fr-CH" smtClean="0"/>
              <a:t>Titel bearbeiten</a:t>
            </a:r>
            <a:br>
              <a:rPr lang="fr-CH" smtClean="0"/>
            </a:br>
            <a:r>
              <a:rPr lang="fr-CH" smtClean="0"/>
              <a:t>—</a:t>
            </a:r>
            <a:endParaRPr lang="fr-CH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2"/>
            <p:custDataLst>
              <p:tags r:id="rId4"/>
            </p:custDataLst>
          </p:nvPr>
        </p:nvSpPr>
        <p:spPr>
          <a:xfrm>
            <a:off x="457200" y="1766400"/>
            <a:ext cx="4186238" cy="2154436"/>
          </a:xfrm>
        </p:spPr>
        <p:txBody>
          <a:bodyPr wrap="square">
            <a:sp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CH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457200" y="1327200"/>
            <a:ext cx="4186238" cy="369332"/>
          </a:xfrm>
        </p:spPr>
        <p:txBody>
          <a:bodyPr wrap="square">
            <a:sp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  <a:lvl2pPr>
              <a:defRPr sz="2400" b="1">
                <a:solidFill>
                  <a:schemeClr val="tx2"/>
                </a:solidFill>
              </a:defRPr>
            </a:lvl2pPr>
            <a:lvl3pPr>
              <a:defRPr sz="2400" b="1">
                <a:solidFill>
                  <a:schemeClr val="tx2"/>
                </a:solidFill>
              </a:defRPr>
            </a:lvl3pPr>
            <a:lvl4pPr>
              <a:defRPr sz="2400" b="1">
                <a:solidFill>
                  <a:schemeClr val="tx2"/>
                </a:solidFill>
              </a:defRPr>
            </a:lvl4pPr>
            <a:lvl5pPr>
              <a:defRPr sz="2400" b="1">
                <a:solidFill>
                  <a:schemeClr val="tx2"/>
                </a:solidFill>
              </a:defRPr>
            </a:lvl5pPr>
          </a:lstStyle>
          <a:p>
            <a:pPr lvl="0"/>
            <a:r>
              <a:rPr lang="fr-CH" dirty="0" smtClean="0"/>
              <a:t>Sous-titre</a:t>
            </a:r>
            <a:endParaRPr lang="fr-CH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4.xml"/><Relationship Id="rId47" Type="http://schemas.openxmlformats.org/officeDocument/2006/relationships/image" Target="../media/image1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45" Type="http://schemas.openxmlformats.org/officeDocument/2006/relationships/tags" Target="../tags/tag7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hyperlink" Target="http://www.fr.ch/lsvw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5.xml"/><Relationship Id="rId48" Type="http://schemas.openxmlformats.org/officeDocument/2006/relationships/hyperlink" Target="http://www.fr.ch/saav" TargetMode="Externa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34" name="Rectangle 10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35" name="think-cell Slide" r:id="rId46" imgW="0" imgH="0" progId="">
                  <p:embed/>
                </p:oleObj>
              </mc:Choice>
              <mc:Fallback>
                <p:oleObj name="think-cell Slide" r:id="rId46" imgW="0" imgH="0" progId="">
                  <p:embed/>
                  <p:pic>
                    <p:nvPicPr>
                      <p:cNvPr id="0" name="Rectangle 10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  <p:custDataLst>
              <p:tags r:id="rId40"/>
            </p:custDataLst>
          </p:nvPr>
        </p:nvSpPr>
        <p:spPr bwMode="auto">
          <a:xfrm>
            <a:off x="457200" y="306000"/>
            <a:ext cx="8242300" cy="951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 smtClean="0"/>
              <a:t>Titre exemple</a:t>
            </a:r>
            <a:br>
              <a:rPr lang="fr-CH" dirty="0" smtClean="0"/>
            </a:br>
            <a:r>
              <a:rPr lang="fr-CH" dirty="0" smtClean="0"/>
              <a:t>—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457200" y="1371600"/>
            <a:ext cx="8242300" cy="182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CH" dirty="0" smtClean="0"/>
              <a:t>Texte principal</a:t>
            </a:r>
          </a:p>
          <a:p>
            <a:pPr lvl="1"/>
            <a:r>
              <a:rPr lang="fr-CH" dirty="0" smtClean="0"/>
              <a:t>Premier niveau</a:t>
            </a:r>
          </a:p>
          <a:p>
            <a:pPr lvl="2"/>
            <a:r>
              <a:rPr lang="fr-CH" dirty="0" smtClean="0"/>
              <a:t>Deuxième niveau</a:t>
            </a:r>
          </a:p>
          <a:p>
            <a:pPr lvl="3"/>
            <a:r>
              <a:rPr lang="fr-CH" dirty="0" smtClean="0"/>
              <a:t>Troisième niveau</a:t>
            </a:r>
          </a:p>
          <a:p>
            <a:pPr lvl="4"/>
            <a:r>
              <a:rPr lang="fr-CH" dirty="0" smtClean="0"/>
              <a:t>Quatrième niveau</a:t>
            </a:r>
          </a:p>
        </p:txBody>
      </p:sp>
      <p:sp>
        <p:nvSpPr>
          <p:cNvPr id="12" name="Rectangle 9"/>
          <p:cNvSpPr txBox="1"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8305800" y="6495879"/>
            <a:ext cx="4016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defRPr sz="1000">
                <a:solidFill>
                  <a:srgbClr val="7F7F7F"/>
                </a:solidFill>
              </a:defRPr>
            </a:lvl1pPr>
          </a:lstStyle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691C44-51A5-42E3-AF9B-62E2D4E643F7}" type="slidenum">
              <a:rPr kumimoji="0" lang="fr-CH" sz="10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charset="0"/>
                <a:ea typeface="ＭＳ Ｐゴシック" pitchFamily="-112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CH" sz="1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charset="0"/>
              <a:ea typeface="ＭＳ Ｐゴシック" pitchFamily="-112" charset="-128"/>
              <a:cs typeface="+mn-cs"/>
            </a:endParaRPr>
          </a:p>
        </p:txBody>
      </p:sp>
      <p:pic>
        <p:nvPicPr>
          <p:cNvPr id="9" name="Picture 8" descr="logo_etat_FR_vers_compacte.jpg"/>
          <p:cNvPicPr>
            <a:picLocks noChangeAspect="1"/>
          </p:cNvPicPr>
          <p:nvPr>
            <p:custDataLst>
              <p:tags r:id="rId43"/>
            </p:custDataLst>
          </p:nvPr>
        </p:nvPicPr>
        <p:blipFill>
          <a:blip r:embed="rId47"/>
          <a:stretch>
            <a:fillRect/>
          </a:stretch>
        </p:blipFill>
        <p:spPr>
          <a:xfrm>
            <a:off x="468000" y="6358200"/>
            <a:ext cx="756000" cy="290079"/>
          </a:xfrm>
          <a:prstGeom prst="rect">
            <a:avLst/>
          </a:prstGeom>
        </p:spPr>
      </p:pic>
      <p:sp>
        <p:nvSpPr>
          <p:cNvPr id="11" name="TextBox 10"/>
          <p:cNvSpPr txBox="1"/>
          <p:nvPr>
            <p:custDataLst>
              <p:tags r:id="rId44"/>
            </p:custDataLst>
          </p:nvPr>
        </p:nvSpPr>
        <p:spPr>
          <a:xfrm>
            <a:off x="2516400" y="6314400"/>
            <a:ext cx="4800000" cy="7155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1000" b="1" dirty="0" smtClean="0"/>
              <a:t>Service de la sécurité alimentaire et des affaires vétérinaires </a:t>
            </a:r>
            <a:r>
              <a:rPr lang="fr-CH" sz="1000" b="0" i="0" dirty="0" smtClean="0"/>
              <a:t>SAAV</a:t>
            </a:r>
          </a:p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700" b="0" i="0" dirty="0" smtClean="0">
                <a:hlinkClick r:id="rId48"/>
              </a:rPr>
              <a:t>www.fr.ch/saav</a:t>
            </a:r>
            <a:endParaRPr lang="fr-CH" sz="700" b="0" i="0" dirty="0" smtClean="0"/>
          </a:p>
          <a:p>
            <a:pPr algn="l">
              <a:lnSpc>
                <a:spcPct val="100000"/>
              </a:lnSpc>
              <a:spcAft>
                <a:spcPts val="0"/>
              </a:spcAft>
              <a:buClr>
                <a:srgbClr val="074EA1"/>
              </a:buClr>
            </a:pPr>
            <a:r>
              <a:rPr lang="fr-CH" sz="700" b="0" i="0" dirty="0" smtClean="0">
                <a:hlinkClick r:id="rId49"/>
              </a:rPr>
              <a:t>www.fr.ch/lsvw</a:t>
            </a:r>
            <a:endParaRPr lang="fr-CH" sz="700" b="0" i="0" dirty="0" smtClean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endParaRPr lang="fr-CH" sz="1000" b="0" i="0" dirty="0" smtClean="0"/>
          </a:p>
          <a:p>
            <a:pPr algn="l">
              <a:lnSpc>
                <a:spcPts val="1345"/>
              </a:lnSpc>
              <a:spcAft>
                <a:spcPts val="0"/>
              </a:spcAft>
              <a:buClr>
                <a:srgbClr val="074EA1"/>
              </a:buClr>
            </a:pPr>
            <a:endParaRPr lang="fr-CH" sz="1000" b="0" i="0" dirty="0" smtClean="0"/>
          </a:p>
        </p:txBody>
      </p:sp>
      <p:cxnSp>
        <p:nvCxnSpPr>
          <p:cNvPr id="14" name="Straight Connector 13"/>
          <p:cNvCxnSpPr/>
          <p:nvPr>
            <p:custDataLst>
              <p:tags r:id="rId45"/>
            </p:custDataLst>
          </p:nvPr>
        </p:nvCxnSpPr>
        <p:spPr>
          <a:xfrm>
            <a:off x="450000" y="6192000"/>
            <a:ext cx="8244000" cy="1588"/>
          </a:xfrm>
          <a:prstGeom prst="line">
            <a:avLst/>
          </a:prstGeom>
          <a:ln w="3175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50" r:id="rId20"/>
    <p:sldLayoutId id="2147483651" r:id="rId21"/>
    <p:sldLayoutId id="2147483652" r:id="rId22"/>
    <p:sldLayoutId id="2147483653" r:id="rId23"/>
    <p:sldLayoutId id="2147483654" r:id="rId24"/>
    <p:sldLayoutId id="2147483655" r:id="rId25"/>
    <p:sldLayoutId id="2147483656" r:id="rId26"/>
    <p:sldLayoutId id="2147483657" r:id="rId27"/>
    <p:sldLayoutId id="2147483658" r:id="rId28"/>
    <p:sldLayoutId id="2147483667" r:id="rId29"/>
    <p:sldLayoutId id="2147483659" r:id="rId30"/>
    <p:sldLayoutId id="2147483660" r:id="rId31"/>
    <p:sldLayoutId id="2147483661" r:id="rId32"/>
    <p:sldLayoutId id="2147483662" r:id="rId33"/>
    <p:sldLayoutId id="2147483663" r:id="rId34"/>
    <p:sldLayoutId id="2147483664" r:id="rId35"/>
    <p:sldLayoutId id="2147483665" r:id="rId36"/>
    <p:sldLayoutId id="2147483666" r:id="rId37"/>
  </p:sldLayoutIdLst>
  <p:hf sldNum="0" hdr="0" dt="0"/>
  <p:txStyles>
    <p:titleStyle>
      <a:lvl1pPr algn="l" defTabSz="457200" rtl="0" eaLnBrk="1" fontAlgn="base" hangingPunct="1">
        <a:lnSpc>
          <a:spcPts val="3700"/>
        </a:lnSpc>
        <a:spcBef>
          <a:spcPct val="0"/>
        </a:spcBef>
        <a:spcAft>
          <a:spcPct val="0"/>
        </a:spcAft>
        <a:defRPr lang="de-DE" sz="3200" b="1" kern="1200" dirty="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2pPr>
      <a:lvl3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3pPr>
      <a:lvl4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4pPr>
      <a:lvl5pPr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  <a:cs typeface="ＭＳ Ｐゴシック" pitchFamily="-112" charset="-128"/>
        </a:defRPr>
      </a:lvl5pPr>
      <a:lvl6pPr marL="4572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6pPr>
      <a:lvl7pPr marL="9144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7pPr>
      <a:lvl8pPr marL="13716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8pPr>
      <a:lvl9pPr marL="1828800" algn="l" defTabSz="457200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pitchFamily="-112" charset="0"/>
          <a:ea typeface="ＭＳ Ｐゴシック" pitchFamily="-112" charset="-128"/>
        </a:defRPr>
      </a:lvl9pPr>
    </p:titleStyle>
    <p:bodyStyle>
      <a:lvl1pPr algn="l" defTabSz="457200" rtl="0" eaLnBrk="1" fontAlgn="base" hangingPunct="1">
        <a:spcBef>
          <a:spcPct val="0"/>
        </a:spcBef>
        <a:spcAft>
          <a:spcPts val="600"/>
        </a:spcAft>
        <a:buClr>
          <a:srgbClr val="074EA1"/>
        </a:buClr>
        <a:buFont typeface="Lucida Grande" pitchFamily="-112" charset="0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ＭＳ Ｐゴシック" pitchFamily="-112" charset="-128"/>
        </a:defRPr>
      </a:lvl1pPr>
      <a:lvl2pPr marL="273050" indent="-271463" algn="l" defTabSz="457200" rtl="0" eaLnBrk="1" fontAlgn="base" hangingPunct="1">
        <a:spcBef>
          <a:spcPct val="0"/>
        </a:spcBef>
        <a:spcAft>
          <a:spcPts val="600"/>
        </a:spcAft>
        <a:buClr>
          <a:schemeClr val="tx1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2pPr>
      <a:lvl3pPr marL="539750" indent="-265113" algn="l" defTabSz="457200" rtl="0" eaLnBrk="1" fontAlgn="base" hangingPunct="1">
        <a:spcBef>
          <a:spcPct val="0"/>
        </a:spcBef>
        <a:spcAft>
          <a:spcPts val="600"/>
        </a:spcAft>
        <a:buClrTx/>
        <a:buSzPct val="100000"/>
        <a:buFont typeface="Arial"/>
        <a:buChar char="&gt;"/>
        <a:defRPr sz="2000" kern="1200" baseline="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3pPr>
      <a:lvl4pPr marL="803275" indent="-261938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4pPr>
      <a:lvl5pPr marL="1076325" indent="-271463" algn="l" defTabSz="457200" rtl="0" eaLnBrk="1" fontAlgn="base" hangingPunct="1">
        <a:spcBef>
          <a:spcPct val="0"/>
        </a:spcBef>
        <a:spcAft>
          <a:spcPts val="600"/>
        </a:spcAft>
        <a:buClr>
          <a:srgbClr val="7F7F7F"/>
        </a:buClr>
        <a:buSzPct val="100000"/>
        <a:buFont typeface="Arial"/>
        <a:buChar char="&gt;"/>
        <a:defRPr sz="2000" kern="1200">
          <a:solidFill>
            <a:schemeClr val="tx1"/>
          </a:solidFill>
          <a:latin typeface="Arial"/>
          <a:ea typeface="ＭＳ Ｐゴシック" pitchFamily="-112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82.xml"/><Relationship Id="rId7" Type="http://schemas.openxmlformats.org/officeDocument/2006/relationships/oleObject" Target="../embeddings/oleObject44.bin"/><Relationship Id="rId2" Type="http://schemas.openxmlformats.org/officeDocument/2006/relationships/tags" Target="../tags/tag281.xml"/><Relationship Id="rId1" Type="http://schemas.openxmlformats.org/officeDocument/2006/relationships/vmlDrawing" Target="../drawings/vmlDrawing44.v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83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85.xml"/><Relationship Id="rId7" Type="http://schemas.openxmlformats.org/officeDocument/2006/relationships/oleObject" Target="../embeddings/oleObject45.bin"/><Relationship Id="rId2" Type="http://schemas.openxmlformats.org/officeDocument/2006/relationships/tags" Target="../tags/tag284.xml"/><Relationship Id="rId1" Type="http://schemas.openxmlformats.org/officeDocument/2006/relationships/vmlDrawing" Target="../drawings/vmlDrawing45.vml"/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8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288.xml"/><Relationship Id="rId7" Type="http://schemas.openxmlformats.org/officeDocument/2006/relationships/image" Target="../media/image9.png"/><Relationship Id="rId2" Type="http://schemas.openxmlformats.org/officeDocument/2006/relationships/tags" Target="../tags/tag287.xml"/><Relationship Id="rId1" Type="http://schemas.openxmlformats.org/officeDocument/2006/relationships/vmlDrawing" Target="../drawings/vmlDrawing46.vml"/><Relationship Id="rId6" Type="http://schemas.openxmlformats.org/officeDocument/2006/relationships/notesSlide" Target="../notesSlides/notesSlide1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89.xml"/><Relationship Id="rId9" Type="http://schemas.openxmlformats.org/officeDocument/2006/relationships/oleObject" Target="../embeddings/oleObject46.bin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91.xml"/><Relationship Id="rId7" Type="http://schemas.openxmlformats.org/officeDocument/2006/relationships/oleObject" Target="../embeddings/oleObject47.bin"/><Relationship Id="rId2" Type="http://schemas.openxmlformats.org/officeDocument/2006/relationships/tags" Target="../tags/tag290.xml"/><Relationship Id="rId1" Type="http://schemas.openxmlformats.org/officeDocument/2006/relationships/vmlDrawing" Target="../drawings/vmlDrawing47.vml"/><Relationship Id="rId6" Type="http://schemas.openxmlformats.org/officeDocument/2006/relationships/notesSlide" Target="../notesSlides/notesSlide1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9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94.xml"/><Relationship Id="rId7" Type="http://schemas.openxmlformats.org/officeDocument/2006/relationships/oleObject" Target="../embeddings/oleObject48.bin"/><Relationship Id="rId2" Type="http://schemas.openxmlformats.org/officeDocument/2006/relationships/tags" Target="../tags/tag293.xml"/><Relationship Id="rId1" Type="http://schemas.openxmlformats.org/officeDocument/2006/relationships/vmlDrawing" Target="../drawings/vmlDrawing48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95.xml"/><Relationship Id="rId9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tags" Target="../tags/tag297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96.xml"/><Relationship Id="rId1" Type="http://schemas.openxmlformats.org/officeDocument/2006/relationships/vmlDrawing" Target="../drawings/vmlDrawing49.vml"/><Relationship Id="rId6" Type="http://schemas.openxmlformats.org/officeDocument/2006/relationships/notesSlide" Target="../notesSlides/notesSlide15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16.jpeg"/><Relationship Id="rId4" Type="http://schemas.openxmlformats.org/officeDocument/2006/relationships/tags" Target="../tags/tag298.xml"/><Relationship Id="rId9" Type="http://schemas.openxmlformats.org/officeDocument/2006/relationships/image" Target="../media/image15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tags" Target="../tags/tag300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99.xml"/><Relationship Id="rId1" Type="http://schemas.openxmlformats.org/officeDocument/2006/relationships/vmlDrawing" Target="../drawings/vmlDrawing50.vml"/><Relationship Id="rId6" Type="http://schemas.openxmlformats.org/officeDocument/2006/relationships/notesSlide" Target="../notesSlides/notesSlide1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0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03.xml"/><Relationship Id="rId7" Type="http://schemas.openxmlformats.org/officeDocument/2006/relationships/oleObject" Target="../embeddings/oleObject51.bin"/><Relationship Id="rId2" Type="http://schemas.openxmlformats.org/officeDocument/2006/relationships/tags" Target="../tags/tag302.xml"/><Relationship Id="rId1" Type="http://schemas.openxmlformats.org/officeDocument/2006/relationships/vmlDrawing" Target="../drawings/vmlDrawing51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0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2.bin"/><Relationship Id="rId3" Type="http://schemas.openxmlformats.org/officeDocument/2006/relationships/tags" Target="../tags/tag306.xml"/><Relationship Id="rId7" Type="http://schemas.openxmlformats.org/officeDocument/2006/relationships/image" Target="../media/image18.png"/><Relationship Id="rId2" Type="http://schemas.openxmlformats.org/officeDocument/2006/relationships/tags" Target="../tags/tag305.xml"/><Relationship Id="rId1" Type="http://schemas.openxmlformats.org/officeDocument/2006/relationships/vmlDrawing" Target="../drawings/vmlDrawing52.vml"/><Relationship Id="rId6" Type="http://schemas.openxmlformats.org/officeDocument/2006/relationships/notesSlide" Target="../notesSlides/notesSlide18.xml"/><Relationship Id="rId11" Type="http://schemas.openxmlformats.org/officeDocument/2006/relationships/image" Target="../media/image21.jpeg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0.jpeg"/><Relationship Id="rId4" Type="http://schemas.openxmlformats.org/officeDocument/2006/relationships/tags" Target="../tags/tag307.xml"/><Relationship Id="rId9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09.xml"/><Relationship Id="rId7" Type="http://schemas.openxmlformats.org/officeDocument/2006/relationships/oleObject" Target="../embeddings/oleObject53.bin"/><Relationship Id="rId2" Type="http://schemas.openxmlformats.org/officeDocument/2006/relationships/tags" Target="../tags/tag308.xml"/><Relationship Id="rId1" Type="http://schemas.openxmlformats.org/officeDocument/2006/relationships/vmlDrawing" Target="../drawings/vmlDrawing53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260.xml"/><Relationship Id="rId1" Type="http://schemas.openxmlformats.org/officeDocument/2006/relationships/vmlDrawing" Target="../drawings/vmlDrawing37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5.xml"/><Relationship Id="rId4" Type="http://schemas.openxmlformats.org/officeDocument/2006/relationships/tags" Target="../tags/tag26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0.xml"/><Relationship Id="rId3" Type="http://schemas.openxmlformats.org/officeDocument/2006/relationships/tags" Target="../tags/tag312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311.xml"/><Relationship Id="rId1" Type="http://schemas.openxmlformats.org/officeDocument/2006/relationships/vmlDrawing" Target="../drawings/vmlDrawing54.vml"/><Relationship Id="rId6" Type="http://schemas.openxmlformats.org/officeDocument/2006/relationships/tags" Target="../tags/tag315.xml"/><Relationship Id="rId5" Type="http://schemas.openxmlformats.org/officeDocument/2006/relationships/tags" Target="../tags/tag314.xml"/><Relationship Id="rId4" Type="http://schemas.openxmlformats.org/officeDocument/2006/relationships/tags" Target="../tags/tag313.xml"/><Relationship Id="rId9" Type="http://schemas.openxmlformats.org/officeDocument/2006/relationships/oleObject" Target="../embeddings/oleObject54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317.xml"/><Relationship Id="rId7" Type="http://schemas.openxmlformats.org/officeDocument/2006/relationships/oleObject" Target="../embeddings/oleObject55.bin"/><Relationship Id="rId2" Type="http://schemas.openxmlformats.org/officeDocument/2006/relationships/tags" Target="../tags/tag316.xml"/><Relationship Id="rId1" Type="http://schemas.openxmlformats.org/officeDocument/2006/relationships/vmlDrawing" Target="../drawings/vmlDrawing55.vml"/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320.xml"/><Relationship Id="rId7" Type="http://schemas.openxmlformats.org/officeDocument/2006/relationships/oleObject" Target="../embeddings/oleObject56.bin"/><Relationship Id="rId2" Type="http://schemas.openxmlformats.org/officeDocument/2006/relationships/tags" Target="../tags/tag319.xml"/><Relationship Id="rId1" Type="http://schemas.openxmlformats.org/officeDocument/2006/relationships/vmlDrawing" Target="../drawings/vmlDrawing56.vml"/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21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7.bin"/><Relationship Id="rId3" Type="http://schemas.openxmlformats.org/officeDocument/2006/relationships/tags" Target="../tags/tag323.xml"/><Relationship Id="rId7" Type="http://schemas.openxmlformats.org/officeDocument/2006/relationships/image" Target="../media/image23.png"/><Relationship Id="rId2" Type="http://schemas.openxmlformats.org/officeDocument/2006/relationships/tags" Target="../tags/tag322.xml"/><Relationship Id="rId1" Type="http://schemas.openxmlformats.org/officeDocument/2006/relationships/vmlDrawing" Target="../drawings/vmlDrawing57.vml"/><Relationship Id="rId6" Type="http://schemas.openxmlformats.org/officeDocument/2006/relationships/notesSlide" Target="../notesSlides/notesSlide23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5.png"/><Relationship Id="rId4" Type="http://schemas.openxmlformats.org/officeDocument/2006/relationships/tags" Target="../tags/tag324.xml"/><Relationship Id="rId9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tags" Target="../tags/tag326.xml"/><Relationship Id="rId7" Type="http://schemas.openxmlformats.org/officeDocument/2006/relationships/oleObject" Target="../embeddings/oleObject58.bin"/><Relationship Id="rId2" Type="http://schemas.openxmlformats.org/officeDocument/2006/relationships/tags" Target="../tags/tag325.xml"/><Relationship Id="rId1" Type="http://schemas.openxmlformats.org/officeDocument/2006/relationships/vmlDrawing" Target="../drawings/vmlDrawing58.vml"/><Relationship Id="rId6" Type="http://schemas.openxmlformats.org/officeDocument/2006/relationships/notesSlide" Target="../notesSlides/notesSlide2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2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329.xml"/><Relationship Id="rId7" Type="http://schemas.openxmlformats.org/officeDocument/2006/relationships/oleObject" Target="../embeddings/oleObject59.bin"/><Relationship Id="rId2" Type="http://schemas.openxmlformats.org/officeDocument/2006/relationships/tags" Target="../tags/tag328.xml"/><Relationship Id="rId1" Type="http://schemas.openxmlformats.org/officeDocument/2006/relationships/vmlDrawing" Target="../drawings/vmlDrawing59.vml"/><Relationship Id="rId6" Type="http://schemas.openxmlformats.org/officeDocument/2006/relationships/notesSlide" Target="../notesSlides/notesSlide2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0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tags" Target="../tags/tag332.xml"/><Relationship Id="rId7" Type="http://schemas.openxmlformats.org/officeDocument/2006/relationships/oleObject" Target="../embeddings/oleObject60.bin"/><Relationship Id="rId2" Type="http://schemas.openxmlformats.org/officeDocument/2006/relationships/tags" Target="../tags/tag331.xml"/><Relationship Id="rId1" Type="http://schemas.openxmlformats.org/officeDocument/2006/relationships/vmlDrawing" Target="../drawings/vmlDrawing60.vml"/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3" Type="http://schemas.openxmlformats.org/officeDocument/2006/relationships/tags" Target="../tags/tag335.xml"/><Relationship Id="rId7" Type="http://schemas.openxmlformats.org/officeDocument/2006/relationships/image" Target="../media/image28.png"/><Relationship Id="rId2" Type="http://schemas.openxmlformats.org/officeDocument/2006/relationships/tags" Target="../tags/tag334.xml"/><Relationship Id="rId1" Type="http://schemas.openxmlformats.org/officeDocument/2006/relationships/vmlDrawing" Target="../drawings/vmlDrawing61.vml"/><Relationship Id="rId6" Type="http://schemas.openxmlformats.org/officeDocument/2006/relationships/notesSlide" Target="../notesSlides/notesSlide2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tags" Target="../tags/tag338.xml"/><Relationship Id="rId7" Type="http://schemas.openxmlformats.org/officeDocument/2006/relationships/oleObject" Target="../embeddings/oleObject62.bin"/><Relationship Id="rId2" Type="http://schemas.openxmlformats.org/officeDocument/2006/relationships/tags" Target="../tags/tag337.xml"/><Relationship Id="rId1" Type="http://schemas.openxmlformats.org/officeDocument/2006/relationships/vmlDrawing" Target="../drawings/vmlDrawing62.vml"/><Relationship Id="rId6" Type="http://schemas.openxmlformats.org/officeDocument/2006/relationships/notesSlide" Target="../notesSlides/notesSlide2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39.xml"/><Relationship Id="rId9" Type="http://schemas.openxmlformats.org/officeDocument/2006/relationships/image" Target="../media/image30.pn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4.bin"/><Relationship Id="rId3" Type="http://schemas.openxmlformats.org/officeDocument/2006/relationships/tags" Target="../tags/tag341.xml"/><Relationship Id="rId7" Type="http://schemas.openxmlformats.org/officeDocument/2006/relationships/oleObject" Target="../embeddings/oleObject63.bin"/><Relationship Id="rId2" Type="http://schemas.openxmlformats.org/officeDocument/2006/relationships/tags" Target="../tags/tag340.xml"/><Relationship Id="rId1" Type="http://schemas.openxmlformats.org/officeDocument/2006/relationships/vmlDrawing" Target="../drawings/vmlDrawing63.vml"/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42.xml"/><Relationship Id="rId9" Type="http://schemas.openxmlformats.org/officeDocument/2006/relationships/image" Target="../media/image31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344.xml"/><Relationship Id="rId7" Type="http://schemas.openxmlformats.org/officeDocument/2006/relationships/oleObject" Target="../embeddings/oleObject65.bin"/><Relationship Id="rId2" Type="http://schemas.openxmlformats.org/officeDocument/2006/relationships/tags" Target="../tags/tag343.xml"/><Relationship Id="rId1" Type="http://schemas.openxmlformats.org/officeDocument/2006/relationships/vmlDrawing" Target="../drawings/vmlDrawing64.vml"/><Relationship Id="rId6" Type="http://schemas.openxmlformats.org/officeDocument/2006/relationships/notesSlide" Target="../notesSlides/notesSlide30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4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oleObject" Target="../embeddings/oleObject66.bin"/><Relationship Id="rId2" Type="http://schemas.openxmlformats.org/officeDocument/2006/relationships/tags" Target="../tags/tag346.xml"/><Relationship Id="rId1" Type="http://schemas.openxmlformats.org/officeDocument/2006/relationships/vmlDrawing" Target="../drawings/vmlDrawing65.vml"/><Relationship Id="rId6" Type="http://schemas.openxmlformats.org/officeDocument/2006/relationships/notesSlide" Target="../notesSlides/notesSlide31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48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tags" Target="../tags/tag350.xml"/><Relationship Id="rId7" Type="http://schemas.openxmlformats.org/officeDocument/2006/relationships/oleObject" Target="../embeddings/oleObject67.bin"/><Relationship Id="rId2" Type="http://schemas.openxmlformats.org/officeDocument/2006/relationships/tags" Target="../tags/tag349.xml"/><Relationship Id="rId1" Type="http://schemas.openxmlformats.org/officeDocument/2006/relationships/vmlDrawing" Target="../drawings/vmlDrawing66.vml"/><Relationship Id="rId6" Type="http://schemas.openxmlformats.org/officeDocument/2006/relationships/notesSlide" Target="../notesSlides/notesSlide32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51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353.xml"/><Relationship Id="rId7" Type="http://schemas.openxmlformats.org/officeDocument/2006/relationships/image" Target="../media/image33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67.vml"/><Relationship Id="rId6" Type="http://schemas.openxmlformats.org/officeDocument/2006/relationships/notesSlide" Target="../notesSlides/notesSlide33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354.xml"/><Relationship Id="rId9" Type="http://schemas.openxmlformats.org/officeDocument/2006/relationships/image" Target="../media/image3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7.xml"/><Relationship Id="rId7" Type="http://schemas.openxmlformats.org/officeDocument/2006/relationships/diagramLayout" Target="../diagrams/layout1.xml"/><Relationship Id="rId2" Type="http://schemas.openxmlformats.org/officeDocument/2006/relationships/tags" Target="../tags/tag355.xml"/><Relationship Id="rId1" Type="http://schemas.openxmlformats.org/officeDocument/2006/relationships/vmlDrawing" Target="../drawings/vmlDrawing68.vml"/><Relationship Id="rId6" Type="http://schemas.openxmlformats.org/officeDocument/2006/relationships/diagramData" Target="../diagrams/data1.xml"/><Relationship Id="rId5" Type="http://schemas.openxmlformats.org/officeDocument/2006/relationships/oleObject" Target="../embeddings/oleObject69.bin"/><Relationship Id="rId10" Type="http://schemas.microsoft.com/office/2007/relationships/diagramDrawing" Target="../diagrams/drawing1.xml"/><Relationship Id="rId4" Type="http://schemas.openxmlformats.org/officeDocument/2006/relationships/notesSlide" Target="../notesSlides/notesSlide34.xml"/><Relationship Id="rId9" Type="http://schemas.openxmlformats.org/officeDocument/2006/relationships/diagramColors" Target="../diagrams/colors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64.xml"/><Relationship Id="rId7" Type="http://schemas.openxmlformats.org/officeDocument/2006/relationships/oleObject" Target="../embeddings/oleObject38.bin"/><Relationship Id="rId2" Type="http://schemas.openxmlformats.org/officeDocument/2006/relationships/tags" Target="../tags/tag263.xml"/><Relationship Id="rId1" Type="http://schemas.openxmlformats.org/officeDocument/2006/relationships/vmlDrawing" Target="../drawings/vmlDrawing38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6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67.xml"/><Relationship Id="rId7" Type="http://schemas.openxmlformats.org/officeDocument/2006/relationships/oleObject" Target="../embeddings/oleObject39.bin"/><Relationship Id="rId2" Type="http://schemas.openxmlformats.org/officeDocument/2006/relationships/tags" Target="../tags/tag266.xml"/><Relationship Id="rId1" Type="http://schemas.openxmlformats.org/officeDocument/2006/relationships/vmlDrawing" Target="../drawings/vmlDrawing39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68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0.bin"/><Relationship Id="rId3" Type="http://schemas.openxmlformats.org/officeDocument/2006/relationships/tags" Target="../tags/tag270.xml"/><Relationship Id="rId7" Type="http://schemas.openxmlformats.org/officeDocument/2006/relationships/image" Target="../media/image4.jpeg"/><Relationship Id="rId2" Type="http://schemas.openxmlformats.org/officeDocument/2006/relationships/tags" Target="../tags/tag269.xml"/><Relationship Id="rId1" Type="http://schemas.openxmlformats.org/officeDocument/2006/relationships/vmlDrawing" Target="../drawings/vmlDrawing40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7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3.xml"/><Relationship Id="rId7" Type="http://schemas.openxmlformats.org/officeDocument/2006/relationships/oleObject" Target="../embeddings/oleObject41.bin"/><Relationship Id="rId2" Type="http://schemas.openxmlformats.org/officeDocument/2006/relationships/tags" Target="../tags/tag272.xml"/><Relationship Id="rId1" Type="http://schemas.openxmlformats.org/officeDocument/2006/relationships/vmlDrawing" Target="../drawings/vmlDrawing41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7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6.xml"/><Relationship Id="rId7" Type="http://schemas.openxmlformats.org/officeDocument/2006/relationships/oleObject" Target="../embeddings/oleObject42.bin"/><Relationship Id="rId2" Type="http://schemas.openxmlformats.org/officeDocument/2006/relationships/tags" Target="../tags/tag275.xml"/><Relationship Id="rId1" Type="http://schemas.openxmlformats.org/officeDocument/2006/relationships/vmlDrawing" Target="../drawings/vmlDrawing42.vml"/><Relationship Id="rId6" Type="http://schemas.openxmlformats.org/officeDocument/2006/relationships/notesSlide" Target="../notesSlides/notesSlide8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7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279.xml"/><Relationship Id="rId7" Type="http://schemas.openxmlformats.org/officeDocument/2006/relationships/oleObject" Target="../embeddings/oleObject43.bin"/><Relationship Id="rId2" Type="http://schemas.openxmlformats.org/officeDocument/2006/relationships/tags" Target="../tags/tag278.xml"/><Relationship Id="rId1" Type="http://schemas.openxmlformats.org/officeDocument/2006/relationships/vmlDrawing" Target="../drawings/vmlDrawing43.vml"/><Relationship Id="rId6" Type="http://schemas.openxmlformats.org/officeDocument/2006/relationships/notesSlide" Target="../notesSlides/notesSlide9.xml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280.xml"/><Relationship Id="rId9" Type="http://schemas.microsoft.com/office/2007/relationships/hdphoto" Target="../media/hdphoto1.wdp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1"/>
          <p:cNvSpPr txBox="1">
            <a:spLocks noGrp="1"/>
          </p:cNvSpPr>
          <p:nvPr>
            <p:ph type="ctrTitle"/>
          </p:nvPr>
        </p:nvSpPr>
        <p:spPr>
          <a:xfrm>
            <a:off x="455608" y="1547996"/>
            <a:ext cx="8289922" cy="3321422"/>
          </a:xfrm>
        </p:spPr>
        <p:txBody>
          <a:bodyPr/>
          <a:lstStyle/>
          <a:p>
            <a:pPr lvl="0"/>
            <a:r>
              <a:rPr lang="fr-CH" dirty="0" err="1" smtClean="0"/>
              <a:t>Amt</a:t>
            </a:r>
            <a:r>
              <a:rPr lang="fr-CH" dirty="0" smtClean="0"/>
              <a:t> </a:t>
            </a:r>
            <a:r>
              <a:rPr lang="fr-CH" dirty="0" err="1" smtClean="0"/>
              <a:t>für</a:t>
            </a:r>
            <a:r>
              <a:rPr lang="fr-CH" dirty="0" smtClean="0"/>
              <a:t> </a:t>
            </a:r>
            <a:r>
              <a:rPr lang="fr-CH" dirty="0" err="1" smtClean="0"/>
              <a:t>Lebensmittelsicherheit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Veterin</a:t>
            </a:r>
            <a:r>
              <a:rPr lang="de-CH" dirty="0" err="1" smtClean="0"/>
              <a:t>ärwesen</a:t>
            </a:r>
            <a:r>
              <a:rPr lang="fr-CH" dirty="0" smtClean="0"/>
              <a:t> (LSVW)</a:t>
            </a:r>
            <a:br>
              <a:rPr lang="fr-CH" dirty="0" smtClean="0"/>
            </a:br>
            <a:r>
              <a:rPr lang="fr-CH" dirty="0"/>
              <a:t/>
            </a:r>
            <a:br>
              <a:rPr lang="fr-CH" dirty="0"/>
            </a:br>
            <a:r>
              <a:rPr lang="fr-CH" b="0" dirty="0" smtClean="0"/>
              <a:t>Die </a:t>
            </a:r>
            <a:r>
              <a:rPr lang="fr-CH" b="0" dirty="0" err="1" smtClean="0"/>
              <a:t>neue</a:t>
            </a:r>
            <a:r>
              <a:rPr lang="fr-CH" b="0" dirty="0" smtClean="0"/>
              <a:t> </a:t>
            </a:r>
            <a:r>
              <a:rPr lang="fr-CH" b="0" dirty="0" smtClean="0">
                <a:solidFill>
                  <a:srgbClr val="FF0000"/>
                </a:solidFill>
              </a:rPr>
              <a:t>PTWI </a:t>
            </a:r>
            <a:r>
              <a:rPr lang="fr-CH" b="0" dirty="0" err="1" smtClean="0"/>
              <a:t>Wegleitung</a:t>
            </a:r>
            <a:r>
              <a:rPr lang="fr-CH" b="0" dirty="0" smtClean="0">
                <a:solidFill>
                  <a:srgbClr val="002C77"/>
                </a:solidFill>
              </a:rPr>
              <a:t>:</a:t>
            </a:r>
            <a:br>
              <a:rPr lang="fr-CH" b="0" dirty="0" smtClean="0">
                <a:solidFill>
                  <a:srgbClr val="002C77"/>
                </a:solidFill>
              </a:rPr>
            </a:br>
            <a:r>
              <a:rPr lang="fr-CH" b="0" dirty="0" smtClean="0">
                <a:solidFill>
                  <a:srgbClr val="FF0000"/>
                </a:solidFill>
              </a:rPr>
              <a:t/>
            </a:r>
            <a:br>
              <a:rPr lang="fr-CH" b="0" dirty="0" smtClean="0">
                <a:solidFill>
                  <a:srgbClr val="FF0000"/>
                </a:solidFill>
              </a:rPr>
            </a:br>
            <a:r>
              <a:rPr lang="fr-CH" b="0" dirty="0" smtClean="0">
                <a:solidFill>
                  <a:srgbClr val="FF0000"/>
                </a:solidFill>
              </a:rPr>
              <a:t>P</a:t>
            </a:r>
            <a:r>
              <a:rPr lang="fr-CH" b="0" dirty="0" smtClean="0"/>
              <a:t>lan der </a:t>
            </a:r>
            <a:r>
              <a:rPr lang="fr-CH" b="0" dirty="0" err="1" smtClean="0">
                <a:solidFill>
                  <a:srgbClr val="FF0000"/>
                </a:solidFill>
              </a:rPr>
              <a:t>T</a:t>
            </a:r>
            <a:r>
              <a:rPr lang="fr-CH" b="0" dirty="0" err="1" smtClean="0"/>
              <a:t>rink</a:t>
            </a:r>
            <a:r>
              <a:rPr lang="fr-CH" b="0" dirty="0" err="1" smtClean="0">
                <a:solidFill>
                  <a:srgbClr val="FF0000"/>
                </a:solidFill>
              </a:rPr>
              <a:t>W</a:t>
            </a:r>
            <a:r>
              <a:rPr lang="fr-CH" b="0" dirty="0" err="1" smtClean="0"/>
              <a:t>asser</a:t>
            </a:r>
            <a:r>
              <a:rPr lang="fr-CH" b="0" dirty="0" err="1" smtClean="0">
                <a:solidFill>
                  <a:srgbClr val="FF0000"/>
                </a:solidFill>
              </a:rPr>
              <a:t>I</a:t>
            </a:r>
            <a:r>
              <a:rPr lang="fr-CH" b="0" dirty="0" err="1" smtClean="0"/>
              <a:t>nfrastrukturen</a:t>
            </a:r>
            <a:r>
              <a:rPr lang="fr-CH" b="0" dirty="0" smtClean="0"/>
              <a:t/>
            </a:r>
            <a:br>
              <a:rPr lang="fr-CH" b="0" dirty="0" smtClean="0"/>
            </a:br>
            <a:r>
              <a:rPr lang="fr-CH" dirty="0" smtClean="0"/>
              <a:t>—</a:t>
            </a:r>
            <a:endParaRPr lang="fr-CH" dirty="0"/>
          </a:p>
        </p:txBody>
      </p:sp>
      <p:sp>
        <p:nvSpPr>
          <p:cNvPr id="2" name="ZoneTexte 1"/>
          <p:cNvSpPr txBox="1"/>
          <p:nvPr/>
        </p:nvSpPr>
        <p:spPr>
          <a:xfrm>
            <a:off x="3410263" y="5559252"/>
            <a:ext cx="4857099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2400" dirty="0" err="1"/>
              <a:t>Pérolles</a:t>
            </a:r>
            <a:r>
              <a:rPr lang="fr-CH" sz="2400" dirty="0"/>
              <a:t> </a:t>
            </a:r>
            <a:r>
              <a:rPr lang="fr-CH" sz="2400" dirty="0" smtClean="0"/>
              <a:t>II, UNIFR</a:t>
            </a:r>
            <a:r>
              <a:rPr lang="fr-CH" sz="2400" dirty="0"/>
              <a:t>, </a:t>
            </a:r>
            <a:r>
              <a:rPr lang="fr-CH" sz="2400" dirty="0" smtClean="0"/>
              <a:t>6. </a:t>
            </a:r>
            <a:r>
              <a:rPr lang="fr-CH" sz="2400" dirty="0" err="1" smtClean="0"/>
              <a:t>Oktober</a:t>
            </a:r>
            <a:r>
              <a:rPr lang="fr-CH" sz="2400" dirty="0" smtClean="0"/>
              <a:t> 2014</a:t>
            </a:r>
            <a:endParaRPr lang="de-CH" sz="2400" dirty="0" err="1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4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Qualität</a:t>
            </a:r>
            <a:r>
              <a:rPr lang="fr-CH" dirty="0" smtClean="0"/>
              <a:t> der </a:t>
            </a:r>
            <a:r>
              <a:rPr lang="fr-CH" dirty="0" err="1" smtClean="0"/>
              <a:t>gefassten</a:t>
            </a:r>
            <a:r>
              <a:rPr lang="fr-CH" dirty="0" smtClean="0"/>
              <a:t> </a:t>
            </a:r>
            <a:r>
              <a:rPr lang="fr-CH" dirty="0" err="1" smtClean="0"/>
              <a:t>Ressourcen</a:t>
            </a:r>
            <a:r>
              <a:rPr lang="fr-CH" dirty="0" smtClean="0"/>
              <a:t> (</a:t>
            </a:r>
            <a:r>
              <a:rPr lang="fr-CH" dirty="0" err="1" smtClean="0"/>
              <a:t>Rohwasser</a:t>
            </a:r>
            <a:r>
              <a:rPr lang="fr-CH" dirty="0" smtClean="0"/>
              <a:t>)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427984" y="1886049"/>
            <a:ext cx="4536504" cy="3462486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Quellentyp</a:t>
            </a:r>
            <a:r>
              <a:rPr lang="fr-CH" dirty="0" smtClean="0">
                <a:latin typeface="Arial" charset="0"/>
              </a:rPr>
              <a:t> ?</a:t>
            </a:r>
          </a:p>
          <a:p>
            <a:pPr marL="274637" lvl="2" indent="0">
              <a:buNone/>
            </a:pPr>
            <a:r>
              <a:rPr lang="fr-CH" dirty="0" err="1" smtClean="0">
                <a:solidFill>
                  <a:srgbClr val="0066FF"/>
                </a:solidFill>
                <a:latin typeface="Arial" charset="0"/>
              </a:rPr>
              <a:t>Karstquelle</a:t>
            </a:r>
            <a:r>
              <a:rPr lang="fr-CH" dirty="0" smtClean="0">
                <a:solidFill>
                  <a:srgbClr val="0066FF"/>
                </a:solidFill>
                <a:latin typeface="Arial" charset="0"/>
              </a:rPr>
              <a:t>, </a:t>
            </a:r>
            <a:r>
              <a:rPr lang="fr-CH" dirty="0" err="1" smtClean="0">
                <a:solidFill>
                  <a:srgbClr val="0066FF"/>
                </a:solidFill>
                <a:latin typeface="Arial" charset="0"/>
              </a:rPr>
              <a:t>Lockergestein</a:t>
            </a:r>
            <a:r>
              <a:rPr lang="fr-CH" dirty="0" smtClean="0">
                <a:solidFill>
                  <a:srgbClr val="0066FF"/>
                </a:solidFill>
                <a:latin typeface="Arial" charset="0"/>
              </a:rPr>
              <a:t>, </a:t>
            </a:r>
            <a:r>
              <a:rPr lang="fr-CH" dirty="0" err="1" smtClean="0">
                <a:solidFill>
                  <a:srgbClr val="0066FF"/>
                </a:solidFill>
                <a:latin typeface="Arial" charset="0"/>
              </a:rPr>
              <a:t>molassig</a:t>
            </a:r>
            <a:endParaRPr lang="fr-CH" dirty="0" smtClean="0">
              <a:solidFill>
                <a:srgbClr val="0066FF"/>
              </a:solidFill>
              <a:latin typeface="Arial" charset="0"/>
            </a:endParaRPr>
          </a:p>
          <a:p>
            <a:pPr lvl="1"/>
            <a:r>
              <a:rPr lang="fr-CH" dirty="0" smtClean="0">
                <a:latin typeface="Arial" charset="0"/>
              </a:rPr>
              <a:t>Welche </a:t>
            </a:r>
            <a:r>
              <a:rPr lang="fr-CH" dirty="0" err="1" smtClean="0">
                <a:latin typeface="Arial" charset="0"/>
              </a:rPr>
              <a:t>Einflüsse</a:t>
            </a:r>
            <a:r>
              <a:rPr lang="fr-CH" dirty="0" smtClean="0">
                <a:latin typeface="Arial" charset="0"/>
              </a:rPr>
              <a:t>? </a:t>
            </a:r>
          </a:p>
          <a:p>
            <a:pPr marL="268287" lvl="2" indent="0">
              <a:buNone/>
            </a:pPr>
            <a:r>
              <a:rPr lang="fr-CH" dirty="0" err="1" smtClean="0">
                <a:solidFill>
                  <a:srgbClr val="00B050"/>
                </a:solidFill>
                <a:latin typeface="Arial" charset="0"/>
              </a:rPr>
              <a:t>Landwirtschaft</a:t>
            </a:r>
            <a:r>
              <a:rPr lang="fr-CH" dirty="0" smtClean="0">
                <a:solidFill>
                  <a:srgbClr val="00B050"/>
                </a:solidFill>
                <a:latin typeface="Arial" charset="0"/>
              </a:rPr>
              <a:t>, </a:t>
            </a:r>
            <a:r>
              <a:rPr lang="fr-CH" dirty="0" err="1" smtClean="0">
                <a:solidFill>
                  <a:srgbClr val="00B050"/>
                </a:solidFill>
                <a:latin typeface="Arial" charset="0"/>
              </a:rPr>
              <a:t>Strassen</a:t>
            </a:r>
            <a:r>
              <a:rPr lang="fr-CH" dirty="0" smtClean="0">
                <a:solidFill>
                  <a:srgbClr val="00B050"/>
                </a:solidFill>
                <a:latin typeface="Arial" charset="0"/>
              </a:rPr>
              <a:t>, </a:t>
            </a:r>
            <a:r>
              <a:rPr lang="fr-CH" dirty="0" err="1" smtClean="0">
                <a:solidFill>
                  <a:srgbClr val="00B050"/>
                </a:solidFill>
                <a:latin typeface="Arial" charset="0"/>
              </a:rPr>
              <a:t>andere</a:t>
            </a:r>
            <a:endParaRPr lang="fr-CH" dirty="0" smtClean="0">
              <a:solidFill>
                <a:srgbClr val="00B050"/>
              </a:solidFill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Reaktio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uf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Niederschlag</a:t>
            </a:r>
            <a:r>
              <a:rPr lang="fr-CH" dirty="0" smtClean="0">
                <a:latin typeface="Arial" charset="0"/>
              </a:rPr>
              <a:t> ?</a:t>
            </a:r>
          </a:p>
          <a:p>
            <a:pPr marL="274637" lvl="2" indent="0">
              <a:buNone/>
            </a:pPr>
            <a:r>
              <a:rPr lang="fr-CH" dirty="0" err="1" smtClean="0">
                <a:solidFill>
                  <a:srgbClr val="996633"/>
                </a:solidFill>
                <a:latin typeface="Arial" charset="0"/>
              </a:rPr>
              <a:t>Starke</a:t>
            </a:r>
            <a:r>
              <a:rPr lang="fr-CH" dirty="0" smtClean="0">
                <a:solidFill>
                  <a:srgbClr val="996633"/>
                </a:solidFill>
                <a:latin typeface="Arial" charset="0"/>
              </a:rPr>
              <a:t> </a:t>
            </a:r>
            <a:r>
              <a:rPr lang="fr-CH" dirty="0" err="1" smtClean="0">
                <a:solidFill>
                  <a:srgbClr val="996633"/>
                </a:solidFill>
                <a:latin typeface="Arial" charset="0"/>
              </a:rPr>
              <a:t>Schüttungsschwankungen</a:t>
            </a:r>
            <a:r>
              <a:rPr lang="fr-CH" dirty="0" smtClean="0">
                <a:solidFill>
                  <a:srgbClr val="996633"/>
                </a:solidFill>
                <a:latin typeface="Arial" charset="0"/>
              </a:rPr>
              <a:t>, </a:t>
            </a:r>
            <a:r>
              <a:rPr lang="fr-CH" dirty="0" err="1" smtClean="0">
                <a:solidFill>
                  <a:srgbClr val="996633"/>
                </a:solidFill>
                <a:latin typeface="Arial" charset="0"/>
              </a:rPr>
              <a:t>Trübung</a:t>
            </a:r>
            <a:endParaRPr lang="fr-CH" dirty="0" smtClean="0">
              <a:solidFill>
                <a:srgbClr val="996633"/>
              </a:solidFill>
              <a:latin typeface="Arial" charset="0"/>
            </a:endParaRPr>
          </a:p>
          <a:p>
            <a:pPr marL="0" lvl="2" indent="0">
              <a:buNone/>
            </a:pPr>
            <a:r>
              <a:rPr lang="fr-CH" b="1" dirty="0" err="1">
                <a:latin typeface="Arial" charset="0"/>
              </a:rPr>
              <a:t>Rohwasserqualität</a:t>
            </a:r>
            <a:r>
              <a:rPr lang="fr-CH" b="1" dirty="0">
                <a:latin typeface="Arial" charset="0"/>
              </a:rPr>
              <a:t> </a:t>
            </a:r>
            <a:r>
              <a:rPr lang="fr-CH" b="1" dirty="0" smtClean="0">
                <a:latin typeface="Arial" charset="0"/>
              </a:rPr>
              <a:t> (</a:t>
            </a:r>
            <a:r>
              <a:rPr lang="fr-CH" b="1" dirty="0" err="1" smtClean="0">
                <a:latin typeface="Arial" charset="0"/>
              </a:rPr>
              <a:t>bakt</a:t>
            </a:r>
            <a:r>
              <a:rPr lang="fr-CH" b="1" dirty="0" smtClean="0">
                <a:latin typeface="Arial" charset="0"/>
              </a:rPr>
              <a:t>.- </a:t>
            </a:r>
            <a:r>
              <a:rPr lang="fr-CH" b="1" dirty="0" err="1" smtClean="0">
                <a:latin typeface="Arial" charset="0"/>
              </a:rPr>
              <a:t>chem</a:t>
            </a:r>
            <a:r>
              <a:rPr lang="fr-CH" b="1" dirty="0" smtClean="0">
                <a:latin typeface="Arial" charset="0"/>
              </a:rPr>
              <a:t>.)?</a:t>
            </a:r>
          </a:p>
          <a:p>
            <a:pPr marL="0" lvl="2" indent="0">
              <a:buNone/>
            </a:pPr>
            <a:r>
              <a:rPr lang="fr-CH" dirty="0" smtClean="0">
                <a:solidFill>
                  <a:srgbClr val="0066FF"/>
                </a:solidFill>
                <a:latin typeface="Arial" charset="0"/>
              </a:rPr>
              <a:t>Gut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>
                <a:solidFill>
                  <a:srgbClr val="00B050"/>
                </a:solidFill>
                <a:latin typeface="Arial" charset="0"/>
              </a:rPr>
              <a:t>bedingt</a:t>
            </a:r>
            <a:r>
              <a:rPr lang="fr-CH" dirty="0">
                <a:solidFill>
                  <a:srgbClr val="00B050"/>
                </a:solidFill>
                <a:latin typeface="Arial" charset="0"/>
              </a:rPr>
              <a:t> </a:t>
            </a:r>
            <a:r>
              <a:rPr lang="fr-CH" dirty="0" err="1">
                <a:solidFill>
                  <a:srgbClr val="00B050"/>
                </a:solidFill>
                <a:latin typeface="Arial" charset="0"/>
              </a:rPr>
              <a:t>gut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>
                <a:solidFill>
                  <a:srgbClr val="996633"/>
                </a:solidFill>
                <a:latin typeface="Arial" charset="0"/>
              </a:rPr>
              <a:t>schlecht</a:t>
            </a:r>
            <a:endParaRPr lang="fr-CH" dirty="0">
              <a:solidFill>
                <a:srgbClr val="996633"/>
              </a:solidFill>
              <a:latin typeface="Arial" charset="0"/>
            </a:endParaRPr>
          </a:p>
        </p:txBody>
      </p:sp>
      <p:sp>
        <p:nvSpPr>
          <p:cNvPr id="8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57200" y="5559623"/>
            <a:ext cx="8242300" cy="461665"/>
          </a:xfrm>
          <a:ln>
            <a:solidFill>
              <a:schemeClr val="tx1"/>
            </a:solidFill>
          </a:ln>
        </p:spPr>
        <p:txBody>
          <a:bodyPr/>
          <a:lstStyle/>
          <a:p>
            <a:pPr marL="1587" lvl="1" indent="0">
              <a:spcAft>
                <a:spcPts val="0"/>
              </a:spcAft>
              <a:buNone/>
            </a:pPr>
            <a:endParaRPr lang="fr-CH" sz="500" dirty="0" smtClean="0">
              <a:latin typeface="Arial" charset="0"/>
            </a:endParaRPr>
          </a:p>
          <a:p>
            <a:pPr marL="180975" lvl="1" indent="0" algn="ctr">
              <a:spcAft>
                <a:spcPts val="0"/>
              </a:spcAft>
              <a:buNone/>
            </a:pPr>
            <a:r>
              <a:rPr lang="fr-CH" dirty="0" err="1" smtClean="0">
                <a:latin typeface="Arial" charset="0"/>
              </a:rPr>
              <a:t>Gefahrenanalys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und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nalyseprogramm</a:t>
            </a:r>
            <a:r>
              <a:rPr lang="fr-CH" dirty="0" smtClean="0">
                <a:latin typeface="Arial" charset="0"/>
              </a:rPr>
              <a:t> (→ </a:t>
            </a:r>
            <a:r>
              <a:rPr lang="fr-CH" dirty="0" err="1" smtClean="0">
                <a:latin typeface="Arial" charset="0"/>
              </a:rPr>
              <a:t>Selbstkontrolle</a:t>
            </a:r>
            <a:r>
              <a:rPr lang="fr-CH" dirty="0" smtClean="0">
                <a:latin typeface="Arial" charset="0"/>
              </a:rPr>
              <a:t>)</a:t>
            </a:r>
          </a:p>
          <a:p>
            <a:pPr marL="1587" lvl="1" indent="0">
              <a:spcAft>
                <a:spcPts val="0"/>
              </a:spcAft>
              <a:buNone/>
            </a:pPr>
            <a:endParaRPr lang="fr-CH" sz="500" dirty="0">
              <a:latin typeface="Arial" charset="0"/>
            </a:endParaRPr>
          </a:p>
        </p:txBody>
      </p:sp>
      <p:pic>
        <p:nvPicPr>
          <p:cNvPr id="10" name="Picture 5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188"/>
          <a:stretch/>
        </p:blipFill>
        <p:spPr bwMode="auto">
          <a:xfrm>
            <a:off x="395536" y="2060848"/>
            <a:ext cx="3587085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Ellipse 10"/>
          <p:cNvSpPr/>
          <p:nvPr/>
        </p:nvSpPr>
        <p:spPr>
          <a:xfrm>
            <a:off x="467544" y="2636912"/>
            <a:ext cx="1296144" cy="504056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4" name="Ellipse 13"/>
          <p:cNvSpPr/>
          <p:nvPr/>
        </p:nvSpPr>
        <p:spPr>
          <a:xfrm>
            <a:off x="467544" y="3789040"/>
            <a:ext cx="1296144" cy="504056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Ellipse 14"/>
          <p:cNvSpPr/>
          <p:nvPr/>
        </p:nvSpPr>
        <p:spPr>
          <a:xfrm>
            <a:off x="467544" y="3284984"/>
            <a:ext cx="1296144" cy="504056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9245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02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47484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219256" cy="307777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Genehmigte</a:t>
            </a:r>
            <a:r>
              <a:rPr lang="fr-CH" dirty="0" smtClean="0">
                <a:latin typeface="Arial" charset="0"/>
              </a:rPr>
              <a:t> </a:t>
            </a:r>
            <a:r>
              <a:rPr lang="de-DE" dirty="0" smtClean="0"/>
              <a:t>Schutzzonen</a:t>
            </a:r>
            <a:r>
              <a:rPr lang="fr-CH" dirty="0" smtClean="0"/>
              <a:t> (S1, S2, S3)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38627" name="Picture 3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564" y="2204864"/>
            <a:ext cx="3542372" cy="3705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283968" y="1916832"/>
            <a:ext cx="4536504" cy="4154984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Pflich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für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err="1" smtClean="0">
                <a:latin typeface="Arial" charset="0"/>
              </a:rPr>
              <a:t>jed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Fassun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o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öffentlichem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Interesse</a:t>
            </a:r>
            <a:r>
              <a:rPr lang="fr-CH" dirty="0" smtClean="0">
                <a:latin typeface="Arial" charset="0"/>
              </a:rPr>
              <a:t> (&gt; 5 </a:t>
            </a:r>
            <a:r>
              <a:rPr lang="fr-CH" dirty="0" err="1" smtClean="0">
                <a:latin typeface="Arial" charset="0"/>
              </a:rPr>
              <a:t>Liegen-schaften</a:t>
            </a:r>
            <a:r>
              <a:rPr lang="fr-CH" dirty="0" smtClean="0">
                <a:latin typeface="Arial" charset="0"/>
              </a:rPr>
              <a:t>)</a:t>
            </a: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Sonderfall</a:t>
            </a:r>
            <a:r>
              <a:rPr lang="fr-CH" dirty="0" smtClean="0">
                <a:latin typeface="Arial" charset="0"/>
              </a:rPr>
              <a:t>: </a:t>
            </a:r>
            <a:r>
              <a:rPr lang="fr-CH" dirty="0" err="1" smtClean="0">
                <a:latin typeface="Arial" charset="0"/>
              </a:rPr>
              <a:t>falls</a:t>
            </a:r>
            <a:r>
              <a:rPr lang="fr-CH" dirty="0" smtClean="0">
                <a:latin typeface="Arial" charset="0"/>
              </a:rPr>
              <a:t> vor 1999 </a:t>
            </a:r>
            <a:r>
              <a:rPr lang="fr-CH" dirty="0" err="1" smtClean="0">
                <a:latin typeface="Arial" charset="0"/>
              </a:rPr>
              <a:t>genehmigt</a:t>
            </a:r>
            <a:r>
              <a:rPr lang="fr-CH" dirty="0" smtClean="0">
                <a:latin typeface="Arial" charset="0"/>
              </a:rPr>
              <a:t>: </a:t>
            </a:r>
          </a:p>
          <a:p>
            <a:pPr marL="361950" lvl="1" indent="-361950">
              <a:buNone/>
            </a:pPr>
            <a:r>
              <a:rPr lang="fr-CH" dirty="0" smtClean="0">
                <a:latin typeface="Arial" charset="0"/>
              </a:rPr>
              <a:t>→ </a:t>
            </a:r>
            <a:r>
              <a:rPr lang="fr-CH" dirty="0" err="1" smtClean="0">
                <a:latin typeface="Arial" charset="0"/>
              </a:rPr>
              <a:t>Wirksamkeit</a:t>
            </a:r>
            <a:r>
              <a:rPr lang="fr-CH" dirty="0" smtClean="0">
                <a:latin typeface="Arial" charset="0"/>
              </a:rPr>
              <a:t> der </a:t>
            </a:r>
            <a:r>
              <a:rPr lang="fr-CH" dirty="0" err="1" smtClean="0">
                <a:latin typeface="Arial" charset="0"/>
              </a:rPr>
              <a:t>Schutzmassnahm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überprüfen</a:t>
            </a:r>
            <a:endParaRPr lang="de-CH" dirty="0" smtClean="0"/>
          </a:p>
          <a:p>
            <a:pPr marL="1587" lvl="1" indent="0">
              <a:buNone/>
            </a:pPr>
            <a:r>
              <a:rPr lang="fr-CH" dirty="0">
                <a:latin typeface="Arial" charset="0"/>
              </a:rPr>
              <a:t>→ </a:t>
            </a:r>
            <a:r>
              <a:rPr lang="de-CH" dirty="0" smtClean="0"/>
              <a:t>Schwere Nutzungskonflikte?</a:t>
            </a:r>
          </a:p>
          <a:p>
            <a:pPr marL="1587" lvl="1" indent="0" algn="ctr">
              <a:buNone/>
            </a:pPr>
            <a:r>
              <a:rPr lang="fr-CH" b="1" dirty="0" smtClean="0">
                <a:latin typeface="Arial" charset="0"/>
              </a:rPr>
              <a:t>Mit </a:t>
            </a:r>
            <a:r>
              <a:rPr lang="fr-CH" b="1" dirty="0" err="1" smtClean="0">
                <a:latin typeface="Arial" charset="0"/>
              </a:rPr>
              <a:t>dem</a:t>
            </a:r>
            <a:r>
              <a:rPr lang="fr-CH" b="1" dirty="0" smtClean="0">
                <a:latin typeface="Arial" charset="0"/>
              </a:rPr>
              <a:t> AfU </a:t>
            </a:r>
            <a:r>
              <a:rPr lang="fr-CH" b="1" dirty="0" err="1" smtClean="0">
                <a:latin typeface="Arial" charset="0"/>
              </a:rPr>
              <a:t>koordinieren</a:t>
            </a:r>
            <a:endParaRPr lang="fr-CH" b="1" dirty="0" smtClean="0">
              <a:latin typeface="Arial" charset="0"/>
            </a:endParaRPr>
          </a:p>
          <a:p>
            <a:pPr marL="1587" lvl="1" indent="0">
              <a:buNone/>
            </a:pPr>
            <a:endParaRPr lang="fr-CH" sz="1000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dirty="0" err="1" smtClean="0">
                <a:latin typeface="Arial" charset="0"/>
              </a:rPr>
              <a:t>Prioritär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Nutzun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öffentlich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und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err="1" smtClean="0">
                <a:latin typeface="Arial" charset="0"/>
              </a:rPr>
              <a:t>privat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Ressourc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uf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Gemeindegebiet</a:t>
            </a:r>
            <a:r>
              <a:rPr lang="fr-CH" dirty="0" smtClean="0">
                <a:latin typeface="Arial" charset="0"/>
              </a:rPr>
              <a:t> (Art</a:t>
            </a:r>
            <a:r>
              <a:rPr lang="fr-CH" dirty="0" smtClean="0">
                <a:latin typeface="Arial" charset="0"/>
              </a:rPr>
              <a:t>. 17 TWG)</a:t>
            </a:r>
            <a:endParaRPr lang="fr-CH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1137841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9925" name="Picture 6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6123" y="2391947"/>
            <a:ext cx="3982123" cy="3589200"/>
          </a:xfrm>
          <a:prstGeom prst="rect">
            <a:avLst/>
          </a:prstGeom>
          <a:noFill/>
          <a:ln w="25400">
            <a:solidFill>
              <a:srgbClr val="0066FF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453144" y="2106489"/>
            <a:ext cx="4150800" cy="243656"/>
          </a:xfrm>
          <a:prstGeom prst="rect">
            <a:avLst/>
          </a:prstGeom>
          <a:solidFill>
            <a:srgbClr val="FF0000"/>
          </a:solidFill>
          <a:ln w="25400"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smtClean="0"/>
              <a:t> </a:t>
            </a:r>
            <a:r>
              <a:rPr lang="fr-CH" sz="1600" b="1" dirty="0" err="1" smtClean="0">
                <a:solidFill>
                  <a:schemeClr val="bg1"/>
                </a:solidFill>
              </a:rPr>
              <a:t>Viele</a:t>
            </a:r>
            <a:r>
              <a:rPr lang="fr-CH" sz="1600" b="1" dirty="0" smtClean="0">
                <a:solidFill>
                  <a:schemeClr val="bg1"/>
                </a:solidFill>
              </a:rPr>
              <a:t> </a:t>
            </a:r>
            <a:r>
              <a:rPr lang="fr-CH" sz="1600" b="1" dirty="0" err="1" smtClean="0">
                <a:solidFill>
                  <a:schemeClr val="bg1"/>
                </a:solidFill>
              </a:rPr>
              <a:t>Gefährdungen</a:t>
            </a:r>
            <a:endParaRPr lang="de-CH" sz="1600" b="1" dirty="0" err="1" smtClean="0">
              <a:solidFill>
                <a:schemeClr val="bg1"/>
              </a:solidFill>
            </a:endParaRPr>
          </a:p>
        </p:txBody>
      </p:sp>
      <p:pic>
        <p:nvPicPr>
          <p:cNvPr id="249922" name="Picture 6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391947"/>
            <a:ext cx="4122000" cy="3587380"/>
          </a:xfrm>
          <a:prstGeom prst="rect">
            <a:avLst/>
          </a:prstGeom>
          <a:noFill/>
          <a:ln w="2540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ZoneTexte 2"/>
          <p:cNvSpPr txBox="1"/>
          <p:nvPr/>
        </p:nvSpPr>
        <p:spPr>
          <a:xfrm>
            <a:off x="5130130" y="3264121"/>
            <a:ext cx="3456384" cy="1628651"/>
          </a:xfrm>
          <a:prstGeom prst="rect">
            <a:avLst/>
          </a:prstGeom>
          <a:solidFill>
            <a:schemeClr val="bg1"/>
          </a:solidFill>
          <a:ln>
            <a:solidFill>
              <a:srgbClr val="0066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  <a:buClr>
                <a:srgbClr val="074EA1"/>
              </a:buClr>
            </a:pPr>
            <a:endParaRPr lang="de-CH" sz="1600" b="1" dirty="0">
              <a:solidFill>
                <a:srgbClr val="0066FF"/>
              </a:solidFill>
            </a:endParaRPr>
          </a:p>
          <a:p>
            <a:pPr>
              <a:lnSpc>
                <a:spcPts val="24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>
                <a:solidFill>
                  <a:srgbClr val="0066FF"/>
                </a:solidFill>
              </a:rPr>
              <a:t>Ordnungsgemässer Schutz mit verhältnismässigen Massnahmen möglich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smtClean="0">
              <a:solidFill>
                <a:srgbClr val="0066FF"/>
              </a:solidFill>
            </a:endParaRPr>
          </a:p>
        </p:txBody>
      </p:sp>
      <p:sp>
        <p:nvSpPr>
          <p:cNvPr id="11" name="ZoneTexte 10"/>
          <p:cNvSpPr txBox="1"/>
          <p:nvPr/>
        </p:nvSpPr>
        <p:spPr>
          <a:xfrm>
            <a:off x="796292" y="3251421"/>
            <a:ext cx="3456384" cy="1564531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>
              <a:solidFill>
                <a:srgbClr val="FF0000"/>
              </a:solidFill>
            </a:endParaRPr>
          </a:p>
          <a:p>
            <a:pPr>
              <a:lnSpc>
                <a:spcPts val="24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>
                <a:solidFill>
                  <a:srgbClr val="FF0000"/>
                </a:solidFill>
              </a:rPr>
              <a:t>Ordnungsgemässer Schutz mit verhältnismässigen Massnahmen nicht möglich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endParaRPr lang="de-CH" sz="1600" b="1" dirty="0" smtClean="0">
              <a:solidFill>
                <a:srgbClr val="0066FF"/>
              </a:solidFill>
            </a:endParaRPr>
          </a:p>
        </p:txBody>
      </p: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4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24224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2</a:t>
            </a:r>
            <a:r>
              <a:rPr lang="fr-CH" dirty="0">
                <a:latin typeface="Arial" charset="0"/>
              </a:rPr>
              <a:t>)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Gefährdungspotential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Eignungsprüfung</a:t>
            </a:r>
            <a:r>
              <a:rPr lang="fr-CH" dirty="0" smtClean="0"/>
              <a:t> (</a:t>
            </a:r>
            <a:r>
              <a:rPr lang="fr-CH" dirty="0" err="1" smtClean="0"/>
              <a:t>Schätzung</a:t>
            </a:r>
            <a:r>
              <a:rPr lang="fr-CH" dirty="0" smtClean="0"/>
              <a:t>)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9" name="ZoneTexte 8"/>
          <p:cNvSpPr txBox="1"/>
          <p:nvPr/>
        </p:nvSpPr>
        <p:spPr>
          <a:xfrm>
            <a:off x="4782246" y="2132856"/>
            <a:ext cx="4006800" cy="243656"/>
          </a:xfrm>
          <a:prstGeom prst="rect">
            <a:avLst/>
          </a:prstGeom>
          <a:solidFill>
            <a:srgbClr val="0066FF"/>
          </a:solidFill>
          <a:ln w="25400">
            <a:solidFill>
              <a:srgbClr val="0066FF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smtClean="0">
                <a:solidFill>
                  <a:schemeClr val="bg1"/>
                </a:solidFill>
              </a:rPr>
              <a:t>Wenig</a:t>
            </a:r>
            <a:r>
              <a:rPr lang="fr-CH" sz="1600" b="1" dirty="0" smtClean="0">
                <a:solidFill>
                  <a:schemeClr val="bg1"/>
                </a:solidFill>
              </a:rPr>
              <a:t> </a:t>
            </a:r>
            <a:r>
              <a:rPr lang="de-DE" sz="1600" b="1" dirty="0" smtClean="0">
                <a:solidFill>
                  <a:schemeClr val="bg1"/>
                </a:solidFill>
              </a:rPr>
              <a:t>Gefährdungen</a:t>
            </a:r>
          </a:p>
        </p:txBody>
      </p:sp>
    </p:spTree>
    <p:extLst>
      <p:ext uri="{BB962C8B-B14F-4D97-AF65-F5344CB8AC3E}">
        <p14:creationId xmlns:p14="http://schemas.microsoft.com/office/powerpoint/2010/main" val="4140320140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9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9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11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32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3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Technische</a:t>
            </a:r>
            <a:r>
              <a:rPr lang="fr-CH" dirty="0" smtClean="0"/>
              <a:t> </a:t>
            </a:r>
            <a:r>
              <a:rPr lang="fr-CH" dirty="0" err="1" smtClean="0"/>
              <a:t>Infrastrukture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427984" y="1886049"/>
            <a:ext cx="4536504" cy="3847207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u="sng" dirty="0" err="1" smtClean="0">
                <a:latin typeface="Arial" charset="0"/>
              </a:rPr>
              <a:t>Für</a:t>
            </a:r>
            <a:r>
              <a:rPr lang="fr-CH" u="sng" dirty="0" smtClean="0">
                <a:latin typeface="Arial" charset="0"/>
              </a:rPr>
              <a:t> </a:t>
            </a:r>
            <a:r>
              <a:rPr lang="fr-CH" u="sng" dirty="0" err="1" smtClean="0">
                <a:latin typeface="Arial" charset="0"/>
              </a:rPr>
              <a:t>jede</a:t>
            </a:r>
            <a:r>
              <a:rPr lang="fr-CH" u="sng" dirty="0" smtClean="0">
                <a:latin typeface="Arial" charset="0"/>
              </a:rPr>
              <a:t> </a:t>
            </a:r>
            <a:r>
              <a:rPr lang="fr-CH" u="sng" dirty="0" err="1" smtClean="0">
                <a:latin typeface="Arial" charset="0"/>
              </a:rPr>
              <a:t>Fassung</a:t>
            </a:r>
            <a:r>
              <a:rPr lang="fr-CH" u="sng" dirty="0" smtClean="0">
                <a:latin typeface="Arial" charset="0"/>
              </a:rPr>
              <a:t> </a:t>
            </a:r>
            <a:r>
              <a:rPr lang="fr-CH" u="sng" dirty="0" err="1" smtClean="0">
                <a:latin typeface="Arial" charset="0"/>
              </a:rPr>
              <a:t>und</a:t>
            </a:r>
            <a:r>
              <a:rPr lang="fr-CH" u="sng" dirty="0" smtClean="0">
                <a:latin typeface="Arial" charset="0"/>
              </a:rPr>
              <a:t> </a:t>
            </a:r>
            <a:r>
              <a:rPr lang="fr-CH" u="sng" dirty="0" err="1" smtClean="0">
                <a:latin typeface="Arial" charset="0"/>
              </a:rPr>
              <a:t>Anlage</a:t>
            </a:r>
            <a:r>
              <a:rPr lang="fr-CH" dirty="0" smtClean="0">
                <a:latin typeface="Arial" charset="0"/>
              </a:rPr>
              <a:t>:</a:t>
            </a:r>
          </a:p>
          <a:p>
            <a:pPr lvl="1"/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Beschreibung</a:t>
            </a:r>
            <a:r>
              <a:rPr lang="fr-CH" dirty="0" smtClean="0">
                <a:latin typeface="Arial" charset="0"/>
              </a:rPr>
              <a:t> der </a:t>
            </a:r>
            <a:r>
              <a:rPr lang="fr-CH" dirty="0" err="1" smtClean="0">
                <a:latin typeface="Arial" charset="0"/>
              </a:rPr>
              <a:t>technisch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Charakteristik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und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Kenndaten</a:t>
            </a:r>
            <a:endParaRPr lang="fr-CH" dirty="0">
              <a:latin typeface="Arial" charset="0"/>
            </a:endParaRPr>
          </a:p>
          <a:p>
            <a:pPr marL="1587" lvl="1" indent="0">
              <a:buNone/>
            </a:pP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Beurteilung</a:t>
            </a:r>
            <a:r>
              <a:rPr lang="fr-CH" dirty="0" smtClean="0">
                <a:latin typeface="Arial" charset="0"/>
              </a:rPr>
              <a:t> des </a:t>
            </a:r>
            <a:r>
              <a:rPr lang="fr-CH" dirty="0" err="1" smtClean="0">
                <a:latin typeface="Arial" charset="0"/>
              </a:rPr>
              <a:t>Zustands</a:t>
            </a:r>
            <a:endParaRPr lang="fr-CH" dirty="0">
              <a:latin typeface="Arial" charset="0"/>
            </a:endParaRPr>
          </a:p>
          <a:p>
            <a:pPr marL="1587" lvl="1" indent="0">
              <a:buNone/>
            </a:pPr>
            <a:endParaRPr lang="fr-CH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►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anhand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Stand der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Technik</a:t>
            </a:r>
            <a:endParaRPr lang="fr-CH" b="1" dirty="0" smtClean="0">
              <a:solidFill>
                <a:srgbClr val="FF0000"/>
              </a:solidFill>
              <a:latin typeface="Arial" charset="0"/>
            </a:endParaRPr>
          </a:p>
          <a:p>
            <a:pPr marL="266700" lvl="1" indent="0">
              <a:buNone/>
            </a:pPr>
            <a:endParaRPr lang="fr-CH" b="1" dirty="0" smtClean="0">
              <a:solidFill>
                <a:srgbClr val="FF0000"/>
              </a:solidFill>
              <a:latin typeface="Arial" charset="0"/>
            </a:endParaRPr>
          </a:p>
          <a:p>
            <a:pPr marL="0" lvl="1" indent="0">
              <a:buNone/>
            </a:pPr>
            <a:r>
              <a:rPr lang="fr-CH" b="1" dirty="0">
                <a:solidFill>
                  <a:srgbClr val="FF0000"/>
                </a:solidFill>
                <a:latin typeface="Arial" charset="0"/>
              </a:rPr>
              <a:t>►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siehe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auch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Inspektionsberichte</a:t>
            </a:r>
            <a:endParaRPr lang="fr-CH" b="1" dirty="0" smtClean="0">
              <a:solidFill>
                <a:srgbClr val="FF0000"/>
              </a:solidFill>
              <a:latin typeface="Arial" charset="0"/>
            </a:endParaRPr>
          </a:p>
        </p:txBody>
      </p:sp>
      <p:pic>
        <p:nvPicPr>
          <p:cNvPr id="267299" name="Picture 3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586" y="2005620"/>
            <a:ext cx="3634358" cy="4015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340378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Ist-Zustand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4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/>
              <a:t>Löschschutz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427984" y="1969963"/>
            <a:ext cx="4464496" cy="1846659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dirty="0" err="1">
                <a:latin typeface="Arial" charset="0"/>
              </a:rPr>
              <a:t>Bestandesaufnahme</a:t>
            </a:r>
            <a:r>
              <a:rPr lang="fr-CH" dirty="0">
                <a:latin typeface="Arial" charset="0"/>
              </a:rPr>
              <a:t> der </a:t>
            </a:r>
            <a:r>
              <a:rPr lang="fr-CH" b="1" dirty="0" err="1">
                <a:latin typeface="Arial" charset="0"/>
              </a:rPr>
              <a:t>Brandrisiken</a:t>
            </a:r>
            <a:endParaRPr lang="fr-CH" b="1" dirty="0">
              <a:latin typeface="Arial" charset="0"/>
            </a:endParaRPr>
          </a:p>
          <a:p>
            <a:pPr marL="1587" lvl="1" indent="0" algn="ctr">
              <a:buNone/>
            </a:pPr>
            <a:r>
              <a:rPr lang="fr-CH" dirty="0" smtClean="0">
                <a:latin typeface="Arial" charset="0"/>
              </a:rPr>
              <a:t>vs.</a:t>
            </a:r>
          </a:p>
          <a:p>
            <a:pPr marL="1587" lvl="1" indent="0">
              <a:buNone/>
            </a:pPr>
            <a:r>
              <a:rPr lang="fr-CH" dirty="0" err="1">
                <a:latin typeface="Arial" charset="0"/>
              </a:rPr>
              <a:t>Bestandesaufnahme</a:t>
            </a:r>
            <a:r>
              <a:rPr lang="fr-CH" dirty="0">
                <a:latin typeface="Arial" charset="0"/>
              </a:rPr>
              <a:t> der </a:t>
            </a:r>
            <a:r>
              <a:rPr lang="fr-CH" b="1" dirty="0" err="1" smtClean="0">
                <a:latin typeface="Arial" charset="0"/>
              </a:rPr>
              <a:t>Brandschutz-massnahmen</a:t>
            </a:r>
            <a:r>
              <a:rPr lang="fr-CH" dirty="0">
                <a:latin typeface="Arial" charset="0"/>
              </a:rPr>
              <a:t>, </a:t>
            </a:r>
            <a:r>
              <a:rPr lang="fr-CH" dirty="0" err="1">
                <a:latin typeface="Arial" charset="0"/>
              </a:rPr>
              <a:t>innerhalb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und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ausserhalb</a:t>
            </a:r>
            <a:r>
              <a:rPr lang="fr-CH" dirty="0">
                <a:latin typeface="Arial" charset="0"/>
              </a:rPr>
              <a:t> der </a:t>
            </a:r>
            <a:r>
              <a:rPr lang="fr-CH" dirty="0" err="1">
                <a:latin typeface="Arial" charset="0"/>
              </a:rPr>
              <a:t>Bauzonen</a:t>
            </a:r>
            <a:endParaRPr lang="fr-CH" dirty="0">
              <a:latin typeface="Arial" charset="0"/>
            </a:endParaRPr>
          </a:p>
        </p:txBody>
      </p:sp>
      <p:pic>
        <p:nvPicPr>
          <p:cNvPr id="282646" name="Picture 2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991769"/>
            <a:ext cx="3312368" cy="474959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9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139952" y="4894258"/>
            <a:ext cx="4680520" cy="692497"/>
          </a:xfrm>
          <a:solidFill>
            <a:schemeClr val="bg1"/>
          </a:solidFill>
          <a:ln>
            <a:solidFill>
              <a:schemeClr val="tx1"/>
            </a:solidFill>
          </a:ln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Beurteilun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gemäs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Leitfaden</a:t>
            </a:r>
            <a:r>
              <a:rPr lang="fr-CH" dirty="0" smtClean="0">
                <a:latin typeface="Arial" charset="0"/>
              </a:rPr>
              <a:t> des </a:t>
            </a:r>
            <a:r>
              <a:rPr lang="fr-CH" b="1" dirty="0" smtClean="0">
                <a:latin typeface="Arial" charset="0"/>
              </a:rPr>
              <a:t>SFV</a:t>
            </a:r>
          </a:p>
          <a:p>
            <a:pPr marL="1587" lvl="1" indent="0">
              <a:buNone/>
            </a:pPr>
            <a:endParaRPr lang="fr-CH" sz="1000" b="1" dirty="0">
              <a:latin typeface="Arial" charset="0"/>
            </a:endParaRPr>
          </a:p>
        </p:txBody>
      </p:sp>
      <p:pic>
        <p:nvPicPr>
          <p:cNvPr id="10" name="Picture 15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60847"/>
            <a:ext cx="3721099" cy="22204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5063591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26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0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(</a:t>
            </a:r>
            <a:r>
              <a:rPr lang="fr-CH" dirty="0">
                <a:solidFill>
                  <a:srgbClr val="FF0000"/>
                </a:solidFill>
                <a:latin typeface="Arial" charset="0"/>
              </a:rPr>
              <a:t>A.4</a:t>
            </a:r>
            <a:r>
              <a:rPr lang="fr-CH" dirty="0">
                <a:latin typeface="Arial" charset="0"/>
              </a:rPr>
              <a:t>)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906888" cy="307777"/>
          </a:xfrm>
        </p:spPr>
        <p:txBody>
          <a:bodyPr/>
          <a:lstStyle/>
          <a:p>
            <a:r>
              <a:rPr lang="fr-CH" dirty="0" err="1" smtClean="0"/>
              <a:t>Löschschutz</a:t>
            </a:r>
            <a:r>
              <a:rPr lang="fr-CH" dirty="0" smtClean="0"/>
              <a:t>: </a:t>
            </a:r>
            <a:r>
              <a:rPr lang="fr-CH" dirty="0" err="1" smtClean="0"/>
              <a:t>technische</a:t>
            </a:r>
            <a:r>
              <a:rPr lang="fr-CH" dirty="0" smtClean="0"/>
              <a:t> </a:t>
            </a:r>
            <a:r>
              <a:rPr lang="fr-CH" dirty="0" err="1" smtClean="0"/>
              <a:t>Objektive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54980" name="Picture 4" descr="C:\Users\Meienbergerg\Desktop\imagesCAO7XU9Z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52240"/>
            <a:ext cx="1194690" cy="9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1651890" y="2374743"/>
            <a:ext cx="6412636" cy="307777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dirty="0">
                <a:latin typeface="Arial" charset="0"/>
              </a:rPr>
              <a:t>Minimum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3.0</a:t>
            </a:r>
            <a:r>
              <a:rPr lang="fr-CH" dirty="0" smtClean="0">
                <a:latin typeface="Arial" charset="0"/>
              </a:rPr>
              <a:t> bar </a:t>
            </a:r>
            <a:r>
              <a:rPr lang="fr-CH" dirty="0" err="1" smtClean="0">
                <a:latin typeface="Arial" charset="0"/>
              </a:rPr>
              <a:t>Fliessdruck</a:t>
            </a:r>
            <a:r>
              <a:rPr lang="fr-CH" dirty="0" smtClean="0">
                <a:latin typeface="Arial" charset="0"/>
              </a:rPr>
              <a:t> à 1’200 l/min</a:t>
            </a:r>
          </a:p>
        </p:txBody>
      </p:sp>
      <p:pic>
        <p:nvPicPr>
          <p:cNvPr id="254987" name="Picture 11" descr="C:\Users\Meienbergerg\Desktop\page44-1000-thumb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88" y="3025888"/>
            <a:ext cx="1195200" cy="1195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1655588" y="3123351"/>
            <a:ext cx="5688632" cy="1000274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dirty="0">
                <a:latin typeface="Arial" charset="0"/>
              </a:rPr>
              <a:t>Bei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&lt;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3.0</a:t>
            </a:r>
            <a:r>
              <a:rPr lang="fr-CH" dirty="0" smtClean="0">
                <a:latin typeface="Arial" charset="0"/>
              </a:rPr>
              <a:t> bar à 1’200 l/min</a:t>
            </a:r>
          </a:p>
          <a:p>
            <a:pPr marL="628650" lvl="3" indent="-363538">
              <a:buClrTx/>
              <a:buNone/>
            </a:pPr>
            <a:r>
              <a:rPr lang="fr-CH" dirty="0" smtClean="0">
                <a:latin typeface="Arial" charset="0"/>
              </a:rPr>
              <a:t>→ </a:t>
            </a:r>
            <a:r>
              <a:rPr lang="fr-CH" dirty="0" err="1" smtClean="0">
                <a:latin typeface="Arial" charset="0"/>
              </a:rPr>
              <a:t>Spezialfall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Niederdruckanlag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Einsatz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on</a:t>
            </a:r>
            <a:r>
              <a:rPr lang="fr-CH" dirty="0" smtClean="0">
                <a:latin typeface="Arial" charset="0"/>
              </a:rPr>
              <a:t> TLF</a:t>
            </a:r>
          </a:p>
        </p:txBody>
      </p:sp>
      <p:pic>
        <p:nvPicPr>
          <p:cNvPr id="255017" name="Picture 41" descr="C:\Users\Meienbergerg\Desktop\images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690" y="4293096"/>
            <a:ext cx="1195200" cy="9494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1655613" y="4301083"/>
            <a:ext cx="6444208" cy="692497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dirty="0">
                <a:latin typeface="Arial" charset="0"/>
              </a:rPr>
              <a:t>Minimum 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3.5</a:t>
            </a:r>
            <a:r>
              <a:rPr lang="fr-CH" dirty="0" smtClean="0">
                <a:latin typeface="Arial" charset="0"/>
              </a:rPr>
              <a:t> bar à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xx</a:t>
            </a:r>
            <a:r>
              <a:rPr lang="fr-CH" dirty="0" smtClean="0">
                <a:latin typeface="Arial" charset="0"/>
              </a:rPr>
              <a:t> l/min </a:t>
            </a:r>
            <a:r>
              <a:rPr lang="fr-CH" dirty="0" err="1" smtClean="0">
                <a:latin typeface="Arial" charset="0"/>
              </a:rPr>
              <a:t>für</a:t>
            </a:r>
            <a:r>
              <a:rPr lang="fr-CH" dirty="0" smtClean="0">
                <a:latin typeface="Arial" charset="0"/>
              </a:rPr>
              <a:t> Sprinkler</a:t>
            </a:r>
          </a:p>
          <a:p>
            <a:pPr marL="265113" lvl="3" indent="0">
              <a:buClrTx/>
              <a:buNone/>
            </a:pPr>
            <a:r>
              <a:rPr lang="fr-CH" dirty="0" smtClean="0">
                <a:latin typeface="Arial" charset="0"/>
              </a:rPr>
              <a:t>→ </a:t>
            </a:r>
            <a:r>
              <a:rPr lang="fr-CH" dirty="0" err="1" smtClean="0">
                <a:latin typeface="Arial" charset="0"/>
              </a:rPr>
              <a:t>abhängi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om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Risiko</a:t>
            </a:r>
            <a:r>
              <a:rPr lang="fr-CH" dirty="0" smtClean="0">
                <a:latin typeface="Arial" charset="0"/>
              </a:rPr>
              <a:t> </a:t>
            </a:r>
          </a:p>
        </p:txBody>
      </p:sp>
      <p:cxnSp>
        <p:nvCxnSpPr>
          <p:cNvPr id="5" name="Connecteur droit 4"/>
          <p:cNvCxnSpPr/>
          <p:nvPr/>
        </p:nvCxnSpPr>
        <p:spPr>
          <a:xfrm>
            <a:off x="457199" y="2952240"/>
            <a:ext cx="7427169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cteur droit 18"/>
          <p:cNvCxnSpPr/>
          <p:nvPr/>
        </p:nvCxnSpPr>
        <p:spPr>
          <a:xfrm>
            <a:off x="460388" y="4221088"/>
            <a:ext cx="7427169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60412" y="5569495"/>
            <a:ext cx="8216043" cy="307777"/>
          </a:xfrm>
          <a:solidFill>
            <a:schemeClr val="bg1"/>
          </a:solidFill>
        </p:spPr>
        <p:txBody>
          <a:bodyPr/>
          <a:lstStyle/>
          <a:p>
            <a:pPr marL="265113" lvl="3" indent="-179388">
              <a:buClrTx/>
              <a:buNone/>
            </a:pPr>
            <a:r>
              <a:rPr lang="fr-CH" dirty="0" err="1" smtClean="0">
                <a:latin typeface="Arial" charset="0"/>
              </a:rPr>
              <a:t>Beispiel</a:t>
            </a:r>
            <a:r>
              <a:rPr lang="fr-CH" dirty="0" smtClean="0">
                <a:latin typeface="Arial" charset="0"/>
              </a:rPr>
              <a:t>: </a:t>
            </a:r>
            <a:r>
              <a:rPr lang="fr-CH" dirty="0" err="1" smtClean="0">
                <a:latin typeface="Arial" charset="0"/>
              </a:rPr>
              <a:t>Industrierisiko</a:t>
            </a:r>
            <a:r>
              <a:rPr lang="fr-CH" dirty="0" smtClean="0">
                <a:latin typeface="Arial" charset="0"/>
              </a:rPr>
              <a:t> H1 : 2’000 l/min + 1’000 l/min FW = 3’000 l/min</a:t>
            </a:r>
          </a:p>
        </p:txBody>
      </p:sp>
    </p:spTree>
    <p:extLst>
      <p:ext uri="{BB962C8B-B14F-4D97-AF65-F5344CB8AC3E}">
        <p14:creationId xmlns:p14="http://schemas.microsoft.com/office/powerpoint/2010/main" val="432473399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9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49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50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uiExpand="1" build="p" animBg="1"/>
      <p:bldP spid="20" grpId="0" uiExpand="1" build="p" animBg="1"/>
      <p:bldP spid="14" grpId="0" build="p" animBg="1"/>
      <p:bldP spid="15" grpId="0" build="p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5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186808" cy="307777"/>
          </a:xfrm>
        </p:spPr>
        <p:txBody>
          <a:bodyPr/>
          <a:lstStyle/>
          <a:p>
            <a:r>
              <a:rPr lang="fr-CH" dirty="0" err="1" smtClean="0"/>
              <a:t>Aktuelle</a:t>
            </a:r>
            <a:r>
              <a:rPr lang="fr-CH" dirty="0" smtClean="0"/>
              <a:t> </a:t>
            </a:r>
            <a:r>
              <a:rPr lang="fr-CH" dirty="0" err="1" smtClean="0"/>
              <a:t>Finanze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139952" y="1943249"/>
            <a:ext cx="4824536" cy="3308598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marL="628650" lvl="1" indent="-628650">
              <a:buNone/>
            </a:pPr>
            <a:r>
              <a:rPr lang="fr-CH" b="1" dirty="0" err="1" smtClean="0">
                <a:latin typeface="Arial" charset="0"/>
              </a:rPr>
              <a:t>Neu</a:t>
            </a:r>
            <a:r>
              <a:rPr lang="fr-CH" dirty="0" smtClean="0">
                <a:latin typeface="Arial" charset="0"/>
              </a:rPr>
              <a:t>: TWG </a:t>
            </a:r>
            <a:r>
              <a:rPr lang="fr-CH" dirty="0" err="1" smtClean="0">
                <a:latin typeface="Arial" charset="0"/>
              </a:rPr>
              <a:t>beinhalte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Werterhalt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für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ll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nich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erschuldet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nlagen</a:t>
            </a:r>
            <a:endParaRPr lang="fr-CH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dirty="0" smtClean="0">
                <a:latin typeface="Arial" charset="0"/>
              </a:rPr>
              <a:t>«</a:t>
            </a:r>
            <a:r>
              <a:rPr lang="fr-CH" dirty="0" err="1" smtClean="0">
                <a:latin typeface="Arial" charset="0"/>
              </a:rPr>
              <a:t>Reserven</a:t>
            </a:r>
            <a:r>
              <a:rPr lang="fr-CH" dirty="0" smtClean="0">
                <a:latin typeface="Arial" charset="0"/>
              </a:rPr>
              <a:t>»-</a:t>
            </a:r>
            <a:r>
              <a:rPr lang="fr-CH" dirty="0" err="1" smtClean="0">
                <a:latin typeface="Arial" charset="0"/>
              </a:rPr>
              <a:t>bildung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Spezialfinanzierung</a:t>
            </a:r>
            <a:endParaRPr lang="fr-CH" dirty="0" smtClean="0">
              <a:latin typeface="Arial" charset="0"/>
            </a:endParaRPr>
          </a:p>
          <a:p>
            <a:pPr marL="1587" lvl="1" indent="0">
              <a:buNone/>
            </a:pP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Wiederbeschaffungswert</a:t>
            </a:r>
            <a:r>
              <a:rPr lang="fr-CH" dirty="0" smtClean="0">
                <a:latin typeface="Arial" charset="0"/>
              </a:rPr>
              <a:t> der </a:t>
            </a:r>
            <a:r>
              <a:rPr lang="fr-CH" b="1" dirty="0" err="1" smtClean="0">
                <a:latin typeface="Arial" charset="0"/>
              </a:rPr>
              <a:t>aktuell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nlagen</a:t>
            </a:r>
            <a:endParaRPr lang="fr-CH" dirty="0" smtClean="0">
              <a:latin typeface="Arial" charset="0"/>
            </a:endParaRPr>
          </a:p>
          <a:p>
            <a:pPr lvl="1"/>
            <a:endParaRPr lang="fr-CH" b="1" dirty="0">
              <a:solidFill>
                <a:srgbClr val="FF0000"/>
              </a:solidFill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Heutig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Kost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(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inkl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.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Werterhalt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) </a:t>
            </a:r>
            <a:r>
              <a:rPr lang="fr-CH" dirty="0" smtClean="0">
                <a:latin typeface="Arial" charset="0"/>
              </a:rPr>
              <a:t>vs. </a:t>
            </a:r>
            <a:r>
              <a:rPr lang="fr-CH" dirty="0" err="1" smtClean="0">
                <a:latin typeface="Arial" charset="0"/>
              </a:rPr>
              <a:t>heutig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Gebühren</a:t>
            </a:r>
            <a:r>
              <a:rPr lang="fr-CH" dirty="0" smtClean="0">
                <a:latin typeface="Arial" charset="0"/>
              </a:rPr>
              <a:t> </a:t>
            </a:r>
            <a:endParaRPr lang="fr-CH" dirty="0">
              <a:latin typeface="Arial" charset="0"/>
            </a:endParaRPr>
          </a:p>
        </p:txBody>
      </p:sp>
      <p:pic>
        <p:nvPicPr>
          <p:cNvPr id="270371" name="Picture 3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1" y="2060848"/>
            <a:ext cx="3504514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51494" y="5569495"/>
            <a:ext cx="8248005" cy="307777"/>
          </a:xfrm>
        </p:spPr>
        <p:txBody>
          <a:bodyPr/>
          <a:lstStyle/>
          <a:p>
            <a:pPr marL="266700" lvl="1" indent="0" algn="ctr">
              <a:buNone/>
            </a:pP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Beurteilung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der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aktuellen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Kostendeckung</a:t>
            </a:r>
            <a:endParaRPr lang="fr-CH" b="1" dirty="0" smtClean="0">
              <a:solidFill>
                <a:srgbClr val="FF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0497763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8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smtClean="0">
                <a:latin typeface="Arial" charset="0"/>
              </a:rPr>
              <a:t>(Exkurs-1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186808" cy="307777"/>
          </a:xfrm>
        </p:spPr>
        <p:txBody>
          <a:bodyPr/>
          <a:lstStyle/>
          <a:p>
            <a:r>
              <a:rPr lang="fr-CH" dirty="0" err="1" smtClean="0"/>
              <a:t>Gebührenstruktur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58152" y="1995512"/>
            <a:ext cx="8362319" cy="4539704"/>
          </a:xfrm>
          <a:effectLst>
            <a:glow rad="101600">
              <a:schemeClr val="accent3">
                <a:satMod val="175000"/>
                <a:alpha val="40000"/>
              </a:schemeClr>
            </a:glow>
          </a:effectLst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b="1" dirty="0" err="1" smtClean="0">
                <a:latin typeface="Arial" charset="0"/>
              </a:rPr>
              <a:t>Anschlussgebühr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und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err="1" smtClean="0">
                <a:latin typeface="Arial" charset="0"/>
              </a:rPr>
              <a:t>Vorzugslast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err="1" smtClean="0">
                <a:latin typeface="Arial" charset="0"/>
              </a:rPr>
              <a:t>einmalig</a:t>
            </a:r>
            <a:r>
              <a:rPr lang="fr-CH" dirty="0" smtClean="0">
                <a:latin typeface="Arial" charset="0"/>
              </a:rPr>
              <a:t>)</a:t>
            </a:r>
          </a:p>
          <a:p>
            <a:pPr marL="0" lvl="1" indent="265113">
              <a:buNone/>
            </a:pPr>
            <a:r>
              <a:rPr lang="fr-CH" dirty="0" err="1" smtClean="0">
                <a:latin typeface="Arial" charset="0"/>
              </a:rPr>
              <a:t>Bemessungskriterien</a:t>
            </a:r>
            <a:r>
              <a:rPr lang="fr-CH" dirty="0" smtClean="0">
                <a:latin typeface="Arial" charset="0"/>
              </a:rPr>
              <a:t> :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GFZ / BMZ / ÜZ		</a:t>
            </a:r>
          </a:p>
          <a:p>
            <a:pPr marL="0" lvl="1" indent="265113">
              <a:buNone/>
            </a:pPr>
            <a:r>
              <a:rPr lang="fr-CH" dirty="0" err="1" smtClean="0">
                <a:latin typeface="Arial" charset="0"/>
              </a:rPr>
              <a:t>Kostendeckung</a:t>
            </a:r>
            <a:r>
              <a:rPr lang="fr-CH" dirty="0" smtClean="0">
                <a:latin typeface="Arial" charset="0"/>
              </a:rPr>
              <a:t> : </a:t>
            </a:r>
            <a:r>
              <a:rPr lang="fr-CH" b="1" dirty="0" err="1" smtClean="0">
                <a:solidFill>
                  <a:srgbClr val="3333FF"/>
                </a:solidFill>
                <a:latin typeface="Arial" charset="0"/>
              </a:rPr>
              <a:t>aktueller</a:t>
            </a:r>
            <a:r>
              <a:rPr lang="fr-CH" b="1" dirty="0" smtClean="0">
                <a:solidFill>
                  <a:srgbClr val="3333FF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W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iederbeschaffu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ngswert</a:t>
            </a:r>
            <a:endParaRPr lang="fr-CH" b="1" dirty="0" smtClean="0">
              <a:solidFill>
                <a:srgbClr val="FF0000"/>
              </a:solidFill>
              <a:latin typeface="Arial" charset="0"/>
            </a:endParaRPr>
          </a:p>
          <a:p>
            <a:pPr marL="0" lvl="1" indent="265113">
              <a:buNone/>
            </a:pPr>
            <a:endParaRPr lang="fr-CH" sz="1000" b="1" u="sng" spc="300" dirty="0">
              <a:solidFill>
                <a:srgbClr val="FF3300"/>
              </a:solidFill>
              <a:latin typeface="Arial" charset="0"/>
            </a:endParaRPr>
          </a:p>
          <a:p>
            <a:pPr lvl="1"/>
            <a:r>
              <a:rPr lang="fr-CH" b="1" dirty="0" err="1" smtClean="0">
                <a:latin typeface="Arial" charset="0"/>
              </a:rPr>
              <a:t>Jährliche</a:t>
            </a:r>
            <a:r>
              <a:rPr lang="fr-CH" b="1" dirty="0" smtClean="0">
                <a:latin typeface="Arial" charset="0"/>
              </a:rPr>
              <a:t> </a:t>
            </a:r>
            <a:r>
              <a:rPr lang="fr-CH" b="1" dirty="0" err="1" smtClean="0">
                <a:latin typeface="Arial" charset="0"/>
              </a:rPr>
              <a:t>Grundgebühr</a:t>
            </a:r>
            <a:r>
              <a:rPr lang="fr-CH" b="1" dirty="0" smtClean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err="1" smtClean="0">
                <a:latin typeface="Arial" charset="0"/>
              </a:rPr>
              <a:t>unabhängi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om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Wasserverbrauch</a:t>
            </a:r>
            <a:r>
              <a:rPr lang="fr-CH" dirty="0" smtClean="0">
                <a:latin typeface="Arial" charset="0"/>
              </a:rPr>
              <a:t>)</a:t>
            </a:r>
          </a:p>
          <a:p>
            <a:pPr marL="0" lvl="1" indent="265113">
              <a:buNone/>
            </a:pPr>
            <a:r>
              <a:rPr lang="fr-CH" dirty="0" err="1">
                <a:latin typeface="Arial" charset="0"/>
              </a:rPr>
              <a:t>Bemessungskriterien</a:t>
            </a:r>
            <a:r>
              <a:rPr lang="fr-CH" dirty="0">
                <a:latin typeface="Arial" charset="0"/>
              </a:rPr>
              <a:t> : </a:t>
            </a:r>
            <a:r>
              <a:rPr lang="fr-CH" i="1" dirty="0" smtClean="0">
                <a:latin typeface="Arial" charset="0"/>
              </a:rPr>
              <a:t>A)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>
                <a:solidFill>
                  <a:srgbClr val="3333FF"/>
                </a:solidFill>
                <a:latin typeface="Arial" charset="0"/>
              </a:rPr>
              <a:t>GFZ / BMZ / ÜZ     </a:t>
            </a:r>
            <a:r>
              <a:rPr lang="fr-CH" i="1" dirty="0">
                <a:latin typeface="Arial" charset="0"/>
              </a:rPr>
              <a:t>B</a:t>
            </a:r>
            <a:r>
              <a:rPr lang="fr-CH" i="1" dirty="0" smtClean="0">
                <a:latin typeface="Arial" charset="0"/>
              </a:rPr>
              <a:t>) </a:t>
            </a:r>
            <a:r>
              <a:rPr lang="fr-CH" b="1" dirty="0">
                <a:solidFill>
                  <a:srgbClr val="3333FF"/>
                </a:solidFill>
                <a:latin typeface="Arial" charset="0"/>
              </a:rPr>
              <a:t>m³/h</a:t>
            </a:r>
            <a:r>
              <a:rPr lang="fr-CH" b="1" dirty="0" smtClean="0">
                <a:solidFill>
                  <a:srgbClr val="FF3300"/>
                </a:solidFill>
                <a:latin typeface="Arial" charset="0"/>
              </a:rPr>
              <a:t>     </a:t>
            </a:r>
            <a:r>
              <a:rPr lang="fr-CH" i="1" dirty="0">
                <a:latin typeface="Arial" charset="0"/>
              </a:rPr>
              <a:t>C) </a:t>
            </a:r>
            <a:r>
              <a:rPr lang="fr-CH" b="1" dirty="0">
                <a:solidFill>
                  <a:srgbClr val="3333FF"/>
                </a:solidFill>
                <a:latin typeface="Arial" charset="0"/>
              </a:rPr>
              <a:t>LU (BW)</a:t>
            </a:r>
          </a:p>
          <a:p>
            <a:pPr marL="0" lvl="1" indent="265113">
              <a:buNone/>
            </a:pPr>
            <a:r>
              <a:rPr lang="fr-CH" dirty="0" err="1">
                <a:latin typeface="Arial" charset="0"/>
              </a:rPr>
              <a:t>Kostendeckung</a:t>
            </a:r>
            <a:r>
              <a:rPr lang="fr-CH" dirty="0">
                <a:latin typeface="Arial" charset="0"/>
              </a:rPr>
              <a:t> :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Amortisation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und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/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dann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zukünftiger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Werterhalt</a:t>
            </a:r>
            <a:endParaRPr lang="fr-CH" b="1" dirty="0" smtClean="0">
              <a:solidFill>
                <a:srgbClr val="FF0000"/>
              </a:solidFill>
              <a:latin typeface="Arial" charset="0"/>
            </a:endParaRPr>
          </a:p>
          <a:p>
            <a:pPr marL="0" lvl="1" indent="265113">
              <a:buNone/>
            </a:pPr>
            <a:endParaRPr lang="fr-CH" sz="1000" b="1" dirty="0">
              <a:solidFill>
                <a:srgbClr val="FF0000"/>
              </a:solidFill>
              <a:latin typeface="Arial" charset="0"/>
            </a:endParaRPr>
          </a:p>
          <a:p>
            <a:pPr lvl="1"/>
            <a:r>
              <a:rPr lang="fr-CH" b="1" dirty="0" err="1" smtClean="0">
                <a:latin typeface="Arial" charset="0"/>
              </a:rPr>
              <a:t>Betriebsgebühr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err="1" smtClean="0">
                <a:latin typeface="Arial" charset="0"/>
              </a:rPr>
              <a:t>jährlich</a:t>
            </a:r>
            <a:r>
              <a:rPr lang="fr-CH" dirty="0" smtClean="0">
                <a:latin typeface="Arial" charset="0"/>
              </a:rPr>
              <a:t>)</a:t>
            </a:r>
          </a:p>
          <a:p>
            <a:pPr marL="0" lvl="1" indent="265113">
              <a:buNone/>
            </a:pPr>
            <a:r>
              <a:rPr lang="fr-CH" dirty="0" err="1" smtClean="0">
                <a:latin typeface="Arial" charset="0"/>
              </a:rPr>
              <a:t>Bemessungskriterium</a:t>
            </a:r>
            <a:r>
              <a:rPr lang="fr-CH" dirty="0" smtClean="0">
                <a:latin typeface="Arial" charset="0"/>
              </a:rPr>
              <a:t> : 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m³</a:t>
            </a:r>
          </a:p>
          <a:p>
            <a:pPr marL="0" lvl="1" indent="265113">
              <a:buNone/>
            </a:pPr>
            <a:r>
              <a:rPr lang="fr-CH" dirty="0" err="1" smtClean="0">
                <a:latin typeface="Arial" charset="0"/>
              </a:rPr>
              <a:t>Kostendeckung</a:t>
            </a:r>
            <a:r>
              <a:rPr lang="fr-CH" dirty="0" smtClean="0">
                <a:latin typeface="Arial" charset="0"/>
              </a:rPr>
              <a:t> :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vom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Jahreswasserbezug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>
                <a:solidFill>
                  <a:srgbClr val="FF0000"/>
                </a:solidFill>
                <a:latin typeface="Arial" charset="0"/>
              </a:rPr>
              <a:t>abhängige</a:t>
            </a:r>
            <a:r>
              <a:rPr lang="fr-CH" b="1" dirty="0">
                <a:solidFill>
                  <a:srgbClr val="FF0000"/>
                </a:solidFill>
                <a:latin typeface="Arial" charset="0"/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  <a:latin typeface="Arial" charset="0"/>
              </a:rPr>
              <a:t>Kosten</a:t>
            </a:r>
            <a:endParaRPr lang="fr-CH" b="1" dirty="0">
              <a:solidFill>
                <a:srgbClr val="FF0000"/>
              </a:solidFill>
              <a:latin typeface="Arial" charset="0"/>
            </a:endParaRPr>
          </a:p>
          <a:p>
            <a:pPr lvl="1"/>
            <a:endParaRPr lang="fr-CH" dirty="0">
              <a:latin typeface="Arial" charset="0"/>
            </a:endParaRPr>
          </a:p>
        </p:txBody>
      </p:sp>
      <p:sp>
        <p:nvSpPr>
          <p:cNvPr id="17" name="ZoneTexte 16"/>
          <p:cNvSpPr txBox="1"/>
          <p:nvPr/>
        </p:nvSpPr>
        <p:spPr>
          <a:xfrm>
            <a:off x="5268416" y="190599"/>
            <a:ext cx="3744416" cy="8848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u="sng" dirty="0" err="1" smtClean="0"/>
              <a:t>Legende</a:t>
            </a:r>
            <a:endParaRPr lang="fr-CH" u="sng" dirty="0" smtClean="0"/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rgbClr val="FF0000"/>
                </a:solidFill>
              </a:rPr>
              <a:t>in rot </a:t>
            </a:r>
            <a:r>
              <a:rPr lang="fr-CH" dirty="0" smtClean="0"/>
              <a:t>: TWG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rgbClr val="3333FF"/>
                </a:solidFill>
              </a:rPr>
              <a:t>in violet</a:t>
            </a:r>
            <a:r>
              <a:rPr lang="fr-CH" dirty="0" smtClean="0"/>
              <a:t>: </a:t>
            </a:r>
            <a:r>
              <a:rPr lang="fr-CH" dirty="0" err="1" smtClean="0"/>
              <a:t>Vorschlag</a:t>
            </a:r>
            <a:r>
              <a:rPr lang="fr-CH" dirty="0" smtClean="0"/>
              <a:t> LSVW</a:t>
            </a:r>
            <a:endParaRPr lang="de-CH" dirty="0" err="1" smtClean="0"/>
          </a:p>
        </p:txBody>
      </p:sp>
    </p:spTree>
    <p:extLst>
      <p:ext uri="{BB962C8B-B14F-4D97-AF65-F5344CB8AC3E}">
        <p14:creationId xmlns:p14="http://schemas.microsoft.com/office/powerpoint/2010/main" val="1741136062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680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9472" y="2531316"/>
            <a:ext cx="4940027" cy="356340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71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>
                <a:latin typeface="Arial" charset="0"/>
              </a:rPr>
              <a:t>(</a:t>
            </a:r>
            <a:r>
              <a:rPr lang="fr-CH" dirty="0" smtClean="0">
                <a:latin typeface="Arial" charset="0"/>
              </a:rPr>
              <a:t>Exkurs-2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Muster-Reglement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Gebührenberechnungstool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3563888" y="1844824"/>
            <a:ext cx="5328592" cy="461665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Erhältlich</a:t>
            </a:r>
            <a:r>
              <a:rPr lang="fr-CH" dirty="0" smtClean="0">
                <a:latin typeface="Arial" charset="0"/>
              </a:rPr>
              <a:t> ab </a:t>
            </a:r>
            <a:r>
              <a:rPr lang="fr-CH" dirty="0" err="1" smtClean="0">
                <a:latin typeface="Arial" charset="0"/>
              </a:rPr>
              <a:t>Mitt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Oktober</a:t>
            </a:r>
            <a:r>
              <a:rPr lang="fr-CH" dirty="0" smtClean="0">
                <a:latin typeface="Arial" charset="0"/>
              </a:rPr>
              <a:t> 2014</a:t>
            </a:r>
            <a:endParaRPr lang="fr-CH" dirty="0">
              <a:latin typeface="Arial" charset="0"/>
            </a:endParaRPr>
          </a:p>
        </p:txBody>
      </p:sp>
      <p:pic>
        <p:nvPicPr>
          <p:cNvPr id="275460" name="Picture 4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60848"/>
            <a:ext cx="2837309" cy="403387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4676" name="Picture 4" descr="C:\Users\Meienbergerg\Desktop\images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88535" y="2531316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4677" name="Picture 5" descr="C:\Users\Meienbergerg\Desktop\images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03059" y="2060848"/>
            <a:ext cx="540000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561888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68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546848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Bedarf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B.1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3970784" cy="692497"/>
          </a:xfrm>
        </p:spPr>
        <p:txBody>
          <a:bodyPr/>
          <a:lstStyle/>
          <a:p>
            <a:r>
              <a:rPr lang="fr-CH" dirty="0" err="1" smtClean="0"/>
              <a:t>Wasserbedarf</a:t>
            </a:r>
            <a:r>
              <a:rPr lang="fr-CH" dirty="0" smtClean="0"/>
              <a:t> [m³/Tag]</a:t>
            </a:r>
            <a:endParaRPr lang="fr-CH" dirty="0"/>
          </a:p>
          <a:p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25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355976" y="1893019"/>
            <a:ext cx="4752528" cy="3000821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Basier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uf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Messwerten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err="1" smtClean="0">
                <a:latin typeface="Arial" charset="0"/>
              </a:rPr>
              <a:t>verkaufte</a:t>
            </a:r>
            <a:r>
              <a:rPr lang="fr-CH" dirty="0" smtClean="0">
                <a:latin typeface="Arial" charset="0"/>
              </a:rPr>
              <a:t> m³)</a:t>
            </a:r>
            <a:endParaRPr lang="fr-CH" b="1" dirty="0">
              <a:solidFill>
                <a:srgbClr val="FF0000"/>
              </a:solidFill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andernfalls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Schätzwerte</a:t>
            </a:r>
            <a:r>
              <a:rPr lang="fr-CH" dirty="0" smtClean="0">
                <a:latin typeface="Arial" charset="0"/>
              </a:rPr>
              <a:t> [l/E., Tag]: 250/400 [</a:t>
            </a:r>
            <a:r>
              <a:rPr lang="fr-CH" dirty="0" err="1" smtClean="0">
                <a:latin typeface="Arial" charset="0"/>
              </a:rPr>
              <a:t>ländlich</a:t>
            </a:r>
            <a:r>
              <a:rPr lang="fr-CH" dirty="0" smtClean="0">
                <a:latin typeface="Arial" charset="0"/>
              </a:rPr>
              <a:t>] &amp; 300/500 [</a:t>
            </a:r>
            <a:r>
              <a:rPr lang="fr-CH" dirty="0" err="1" smtClean="0">
                <a:latin typeface="Arial" charset="0"/>
              </a:rPr>
              <a:t>städtlich</a:t>
            </a:r>
            <a:r>
              <a:rPr lang="fr-CH" dirty="0" smtClean="0">
                <a:latin typeface="Arial" charset="0"/>
              </a:rPr>
              <a:t>]</a:t>
            </a:r>
          </a:p>
          <a:p>
            <a:pPr lvl="1"/>
            <a:r>
              <a:rPr lang="fr-CH" dirty="0" err="1" smtClean="0">
                <a:latin typeface="Arial" charset="0"/>
              </a:rPr>
              <a:t>Grosverbraucher</a:t>
            </a:r>
            <a:r>
              <a:rPr lang="fr-CH" dirty="0" smtClean="0">
                <a:latin typeface="Arial" charset="0"/>
              </a:rPr>
              <a:t> = &gt;5’000 </a:t>
            </a:r>
            <a:r>
              <a:rPr lang="fr-CH" dirty="0" smtClean="0"/>
              <a:t>m³/a</a:t>
            </a:r>
          </a:p>
          <a:p>
            <a:pPr lvl="1"/>
            <a:r>
              <a:rPr lang="fr-CH" dirty="0" smtClean="0">
                <a:latin typeface="Arial" charset="0"/>
              </a:rPr>
              <a:t>GVE = 60 l/</a:t>
            </a:r>
            <a:r>
              <a:rPr lang="fr-CH" dirty="0" err="1" smtClean="0">
                <a:latin typeface="Arial" charset="0"/>
              </a:rPr>
              <a:t>Stück</a:t>
            </a:r>
            <a:r>
              <a:rPr lang="fr-CH" dirty="0" smtClean="0">
                <a:latin typeface="Arial" charset="0"/>
              </a:rPr>
              <a:t>, Tag</a:t>
            </a:r>
          </a:p>
          <a:p>
            <a:pPr lvl="1"/>
            <a:r>
              <a:rPr lang="de-CH" dirty="0" smtClean="0">
                <a:latin typeface="Arial" charset="0"/>
              </a:rPr>
              <a:t>Unterscheiden zwischen Verlusten und nicht </a:t>
            </a:r>
            <a:r>
              <a:rPr lang="de-CH" dirty="0" err="1" smtClean="0">
                <a:latin typeface="Arial" charset="0"/>
              </a:rPr>
              <a:t>entgeltete</a:t>
            </a:r>
            <a:r>
              <a:rPr lang="de-CH" dirty="0" smtClean="0">
                <a:latin typeface="Arial" charset="0"/>
              </a:rPr>
              <a:t> Bezüge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Planungsziel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err="1" smtClean="0">
                <a:latin typeface="Arial" charset="0"/>
              </a:rPr>
              <a:t>z.B</a:t>
            </a:r>
            <a:r>
              <a:rPr lang="fr-CH" dirty="0" smtClean="0">
                <a:latin typeface="Arial" charset="0"/>
              </a:rPr>
              <a:t>. +15%)</a:t>
            </a:r>
          </a:p>
        </p:txBody>
      </p:sp>
      <p:pic>
        <p:nvPicPr>
          <p:cNvPr id="250948" name="Picture 6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06" y="2060848"/>
            <a:ext cx="3623137" cy="4049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241246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6" name="Rectangle 4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8242300" cy="948978"/>
          </a:xfrm>
        </p:spPr>
        <p:txBody>
          <a:bodyPr/>
          <a:lstStyle/>
          <a:p>
            <a:r>
              <a:rPr lang="fr-CH" dirty="0" smtClean="0"/>
              <a:t>Plan der </a:t>
            </a:r>
            <a:r>
              <a:rPr lang="fr-CH" dirty="0" err="1" smtClean="0"/>
              <a:t>Trinkwasserinfrastrukturen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10" name="Inhaltsplatzhalter 9"/>
          <p:cNvSpPr>
            <a:spLocks noGrp="1"/>
          </p:cNvSpPr>
          <p:nvPr>
            <p:ph type="body" sz="quarter" idx="12"/>
            <p:custDataLst>
              <p:tags r:id="rId3"/>
            </p:custDataLst>
          </p:nvPr>
        </p:nvSpPr>
        <p:spPr>
          <a:xfrm>
            <a:off x="457200" y="2266800"/>
            <a:ext cx="8242300" cy="1846659"/>
          </a:xfrm>
        </p:spPr>
        <p:txBody>
          <a:bodyPr/>
          <a:lstStyle/>
          <a:p>
            <a:endParaRPr lang="fr-CH" dirty="0" smtClean="0"/>
          </a:p>
          <a:p>
            <a:pPr lvl="1"/>
            <a:r>
              <a:rPr lang="fr-CH" dirty="0" err="1" smtClean="0">
                <a:latin typeface="Arial" charset="0"/>
              </a:rPr>
              <a:t>Hauptkomponenten</a:t>
            </a:r>
            <a:r>
              <a:rPr lang="fr-CH" dirty="0" smtClean="0">
                <a:latin typeface="Arial" charset="0"/>
              </a:rPr>
              <a:t> der </a:t>
            </a:r>
            <a:r>
              <a:rPr lang="fr-CH" dirty="0" err="1" smtClean="0">
                <a:latin typeface="Arial" charset="0"/>
              </a:rPr>
              <a:t>Wegleitung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Erwartet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Resultate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Wi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koordinier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zwisch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Gemeind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Verbände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Privatverteiler</a:t>
            </a:r>
            <a:r>
              <a:rPr lang="fr-CH" dirty="0" smtClean="0">
                <a:latin typeface="Arial" charset="0"/>
              </a:rPr>
              <a:t>?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Fragerunde</a:t>
            </a:r>
            <a:endParaRPr lang="fr-CH" dirty="0">
              <a:latin typeface="Arial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fr-CH" dirty="0" err="1" smtClean="0"/>
              <a:t>Übersicht</a:t>
            </a:r>
            <a:endParaRPr lang="fr-CH" dirty="0"/>
          </a:p>
        </p:txBody>
      </p:sp>
      <p:graphicFrame>
        <p:nvGraphicFramePr>
          <p:cNvPr id="95234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8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78770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416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 smtClean="0">
                <a:latin typeface="Arial" charset="0"/>
              </a:rPr>
              <a:t>Wasserbilanz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B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251520" y="1124744"/>
            <a:ext cx="4186808" cy="692497"/>
          </a:xfrm>
        </p:spPr>
        <p:txBody>
          <a:bodyPr/>
          <a:lstStyle/>
          <a:p>
            <a:pPr algn="ctr">
              <a:tabLst>
                <a:tab pos="4124325" algn="l"/>
              </a:tabLst>
            </a:pPr>
            <a:r>
              <a:rPr lang="fr-CH" dirty="0" err="1" smtClean="0"/>
              <a:t>Lastfall</a:t>
            </a:r>
            <a:r>
              <a:rPr lang="fr-CH" dirty="0" smtClean="0"/>
              <a:t> </a:t>
            </a:r>
            <a:r>
              <a:rPr lang="fr-CH" dirty="0" smtClean="0">
                <a:solidFill>
                  <a:srgbClr val="FF0000"/>
                </a:solidFill>
              </a:rPr>
              <a:t>Nr. 1 </a:t>
            </a:r>
            <a:r>
              <a:rPr lang="fr-CH" dirty="0" smtClean="0"/>
              <a:t>:</a:t>
            </a:r>
            <a:endParaRPr lang="fr-CH" dirty="0"/>
          </a:p>
          <a:p>
            <a:pPr algn="ctr">
              <a:tabLst>
                <a:tab pos="4124325" algn="l"/>
              </a:tabLst>
            </a:pPr>
            <a:r>
              <a:rPr lang="fr-CH" dirty="0" smtClean="0"/>
              <a:t>«</a:t>
            </a:r>
            <a:r>
              <a:rPr lang="fr-CH" i="1" dirty="0" err="1" smtClean="0"/>
              <a:t>Maximalfall</a:t>
            </a:r>
            <a:r>
              <a:rPr lang="fr-CH" dirty="0" smtClean="0"/>
              <a:t>»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22" name="Rectangle 21"/>
          <p:cNvSpPr/>
          <p:nvPr/>
        </p:nvSpPr>
        <p:spPr>
          <a:xfrm>
            <a:off x="863804" y="2564904"/>
            <a:ext cx="1296144" cy="1296144"/>
          </a:xfrm>
          <a:prstGeom prst="rect">
            <a:avLst/>
          </a:prstGeom>
          <a:solidFill>
            <a:srgbClr val="0070C0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Fassung A</a:t>
            </a:r>
            <a:endParaRPr lang="de-DE" sz="1800" dirty="0"/>
          </a:p>
        </p:txBody>
      </p:sp>
      <p:sp>
        <p:nvSpPr>
          <p:cNvPr id="24" name="Rectangle 23"/>
          <p:cNvSpPr/>
          <p:nvPr/>
        </p:nvSpPr>
        <p:spPr>
          <a:xfrm>
            <a:off x="863804" y="4293096"/>
            <a:ext cx="1296144" cy="720080"/>
          </a:xfrm>
          <a:prstGeom prst="rect">
            <a:avLst/>
          </a:prstGeom>
          <a:solidFill>
            <a:srgbClr val="99CCFF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Quelle C</a:t>
            </a:r>
            <a:endParaRPr lang="de-DE" sz="1800" dirty="0"/>
          </a:p>
        </p:txBody>
      </p:sp>
      <p:sp>
        <p:nvSpPr>
          <p:cNvPr id="26" name="Rectangle 25"/>
          <p:cNvSpPr/>
          <p:nvPr/>
        </p:nvSpPr>
        <p:spPr>
          <a:xfrm>
            <a:off x="863804" y="3861048"/>
            <a:ext cx="1296144" cy="432048"/>
          </a:xfrm>
          <a:prstGeom prst="rect">
            <a:avLst/>
          </a:prstGeom>
          <a:solidFill>
            <a:srgbClr val="3399FF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/>
              <a:t>Quelle B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519988" y="3140968"/>
            <a:ext cx="1296000" cy="1872208"/>
          </a:xfrm>
          <a:prstGeom prst="rect">
            <a:avLst/>
          </a:prstGeom>
          <a:solidFill>
            <a:srgbClr val="FF9966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Maximaler Bedarf</a:t>
            </a:r>
            <a:endParaRPr lang="de-DE" sz="1800" dirty="0"/>
          </a:p>
        </p:txBody>
      </p:sp>
      <p:sp>
        <p:nvSpPr>
          <p:cNvPr id="28" name="Rectangle 27"/>
          <p:cNvSpPr/>
          <p:nvPr/>
        </p:nvSpPr>
        <p:spPr>
          <a:xfrm>
            <a:off x="2519988" y="2564904"/>
            <a:ext cx="1296000" cy="576064"/>
          </a:xfrm>
          <a:prstGeom prst="rect">
            <a:avLst/>
          </a:prstGeom>
          <a:solidFill>
            <a:srgbClr val="00B050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Reserve</a:t>
            </a:r>
            <a:endParaRPr lang="de-DE" sz="1800" dirty="0"/>
          </a:p>
        </p:txBody>
      </p:sp>
      <p:cxnSp>
        <p:nvCxnSpPr>
          <p:cNvPr id="29" name="Connecteur droit 28"/>
          <p:cNvCxnSpPr/>
          <p:nvPr/>
        </p:nvCxnSpPr>
        <p:spPr>
          <a:xfrm>
            <a:off x="647780" y="5013176"/>
            <a:ext cx="3384376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2171606" y="2564904"/>
            <a:ext cx="348382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4788024" y="4149080"/>
            <a:ext cx="1296000" cy="864096"/>
          </a:xfrm>
          <a:prstGeom prst="rect">
            <a:avLst/>
          </a:prstGeom>
          <a:solidFill>
            <a:srgbClr val="99CCFF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Quelle C</a:t>
            </a:r>
            <a:endParaRPr lang="de-DE" sz="1800" dirty="0"/>
          </a:p>
        </p:txBody>
      </p:sp>
      <p:sp>
        <p:nvSpPr>
          <p:cNvPr id="32" name="Rectangle 31"/>
          <p:cNvSpPr/>
          <p:nvPr/>
        </p:nvSpPr>
        <p:spPr>
          <a:xfrm>
            <a:off x="4788024" y="3645024"/>
            <a:ext cx="1296000" cy="504056"/>
          </a:xfrm>
          <a:prstGeom prst="rect">
            <a:avLst/>
          </a:prstGeom>
          <a:solidFill>
            <a:srgbClr val="3399FF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Quelle B</a:t>
            </a:r>
            <a:endParaRPr lang="de-DE" sz="1800" dirty="0"/>
          </a:p>
        </p:txBody>
      </p:sp>
      <p:sp>
        <p:nvSpPr>
          <p:cNvPr id="33" name="Rectangle 32"/>
          <p:cNvSpPr/>
          <p:nvPr/>
        </p:nvSpPr>
        <p:spPr>
          <a:xfrm>
            <a:off x="7236296" y="3356992"/>
            <a:ext cx="1296000" cy="1656184"/>
          </a:xfrm>
          <a:prstGeom prst="rect">
            <a:avLst/>
          </a:prstGeom>
          <a:solidFill>
            <a:srgbClr val="FF9966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/>
              <a:t>Mittlerer Bedarf</a:t>
            </a:r>
            <a:endParaRPr lang="de-DE" sz="1800" dirty="0"/>
          </a:p>
        </p:txBody>
      </p:sp>
      <p:cxnSp>
        <p:nvCxnSpPr>
          <p:cNvPr id="34" name="Connecteur droit 33"/>
          <p:cNvCxnSpPr/>
          <p:nvPr/>
        </p:nvCxnSpPr>
        <p:spPr>
          <a:xfrm>
            <a:off x="4572000" y="5013176"/>
            <a:ext cx="4104456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ZoneTexte 12"/>
          <p:cNvSpPr txBox="1"/>
          <p:nvPr/>
        </p:nvSpPr>
        <p:spPr>
          <a:xfrm>
            <a:off x="970277" y="5085184"/>
            <a:ext cx="1013099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smtClean="0"/>
              <a:t>Minimale</a:t>
            </a:r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 smtClean="0"/>
              <a:t>Schüttung</a:t>
            </a:r>
            <a:endParaRPr lang="de-CH" sz="1600" b="1" dirty="0" err="1" smtClean="0"/>
          </a:p>
        </p:txBody>
      </p:sp>
      <p:sp>
        <p:nvSpPr>
          <p:cNvPr id="37" name="ZoneTexte 1"/>
          <p:cNvSpPr txBox="1"/>
          <p:nvPr/>
        </p:nvSpPr>
        <p:spPr>
          <a:xfrm>
            <a:off x="4966506" y="5085184"/>
            <a:ext cx="1013098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 smtClean="0"/>
              <a:t>Mittlere</a:t>
            </a:r>
            <a:endParaRPr lang="fr-CH" sz="1600" b="1" dirty="0" smtClean="0"/>
          </a:p>
          <a:p>
            <a:pPr algn="ctr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600" b="1" dirty="0" err="1" smtClean="0"/>
              <a:t>Schüttung</a:t>
            </a:r>
            <a:endParaRPr lang="de-CH" sz="1600" b="1" dirty="0" err="1" smtClean="0"/>
          </a:p>
        </p:txBody>
      </p:sp>
      <p:sp>
        <p:nvSpPr>
          <p:cNvPr id="38" name="Rectangle 37"/>
          <p:cNvSpPr/>
          <p:nvPr/>
        </p:nvSpPr>
        <p:spPr>
          <a:xfrm>
            <a:off x="4788024" y="2348880"/>
            <a:ext cx="1296144" cy="1296144"/>
          </a:xfrm>
          <a:prstGeom prst="rect">
            <a:avLst/>
          </a:prstGeom>
          <a:noFill/>
          <a:ln w="12700">
            <a:solidFill>
              <a:schemeClr val="tx1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dirty="0" smtClean="0">
                <a:solidFill>
                  <a:schemeClr val="tx1"/>
                </a:solidFill>
              </a:rPr>
              <a:t>Fassung A</a:t>
            </a:r>
          </a:p>
          <a:p>
            <a:r>
              <a:rPr lang="de-DE" sz="1800" dirty="0" smtClean="0">
                <a:solidFill>
                  <a:schemeClr val="tx1"/>
                </a:solidFill>
              </a:rPr>
              <a:t>(Ausfall)</a:t>
            </a:r>
          </a:p>
          <a:p>
            <a:endParaRPr lang="de-DE" sz="1800" dirty="0">
              <a:solidFill>
                <a:schemeClr val="tx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6084168" y="3356992"/>
            <a:ext cx="1151984" cy="288032"/>
          </a:xfrm>
          <a:prstGeom prst="rect">
            <a:avLst/>
          </a:prstGeom>
          <a:solidFill>
            <a:srgbClr val="FF0000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800" dirty="0" smtClean="0"/>
              <a:t>Defizit</a:t>
            </a:r>
            <a:endParaRPr lang="de-DE" sz="1800" dirty="0"/>
          </a:p>
        </p:txBody>
      </p:sp>
      <p:sp>
        <p:nvSpPr>
          <p:cNvPr id="40" name="Rectangle 39"/>
          <p:cNvSpPr/>
          <p:nvPr/>
        </p:nvSpPr>
        <p:spPr>
          <a:xfrm>
            <a:off x="4788024" y="3356992"/>
            <a:ext cx="1296144" cy="288032"/>
          </a:xfrm>
          <a:prstGeom prst="rect">
            <a:avLst/>
          </a:prstGeom>
          <a:solidFill>
            <a:srgbClr val="00B0F0"/>
          </a:solidFill>
          <a:ln w="1270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0"/>
            <a:r>
              <a:rPr lang="de-DE" sz="1800" dirty="0" smtClean="0"/>
              <a:t>Zusatz</a:t>
            </a:r>
            <a:endParaRPr lang="de-DE" sz="1800" dirty="0"/>
          </a:p>
        </p:txBody>
      </p:sp>
      <p:sp>
        <p:nvSpPr>
          <p:cNvPr id="25" name="Line 8"/>
          <p:cNvSpPr>
            <a:spLocks noChangeShapeType="1"/>
          </p:cNvSpPr>
          <p:nvPr>
            <p:custDataLst>
              <p:tags r:id="rId5"/>
            </p:custDataLst>
          </p:nvPr>
        </p:nvSpPr>
        <p:spPr bwMode="auto">
          <a:xfrm>
            <a:off x="4178300" y="1916832"/>
            <a:ext cx="4498156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wrap="square"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42" name="Textplatzhalter 34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4419600" y="1124744"/>
            <a:ext cx="4400872" cy="692497"/>
          </a:xfrm>
        </p:spPr>
        <p:txBody>
          <a:bodyPr/>
          <a:lstStyle/>
          <a:p>
            <a:pPr algn="ctr">
              <a:tabLst>
                <a:tab pos="4124325" algn="l"/>
              </a:tabLst>
            </a:pPr>
            <a:r>
              <a:rPr lang="fr-CH" dirty="0" err="1" smtClean="0"/>
              <a:t>Lastfall</a:t>
            </a:r>
            <a:r>
              <a:rPr lang="fr-CH" dirty="0" smtClean="0"/>
              <a:t> </a:t>
            </a:r>
            <a:r>
              <a:rPr lang="fr-CH" dirty="0">
                <a:solidFill>
                  <a:srgbClr val="FF0000"/>
                </a:solidFill>
              </a:rPr>
              <a:t>Nr. </a:t>
            </a:r>
            <a:r>
              <a:rPr lang="fr-CH" dirty="0" smtClean="0">
                <a:solidFill>
                  <a:srgbClr val="FF0000"/>
                </a:solidFill>
              </a:rPr>
              <a:t>2 </a:t>
            </a:r>
            <a:r>
              <a:rPr lang="fr-CH" dirty="0" smtClean="0"/>
              <a:t>:</a:t>
            </a:r>
          </a:p>
          <a:p>
            <a:pPr algn="ctr">
              <a:tabLst>
                <a:tab pos="4124325" algn="l"/>
              </a:tabLst>
            </a:pPr>
            <a:r>
              <a:rPr lang="fr-CH" dirty="0" smtClean="0"/>
              <a:t>«</a:t>
            </a:r>
            <a:r>
              <a:rPr lang="fr-CH" i="1" dirty="0" err="1" smtClean="0"/>
              <a:t>Versorgungssicherheit</a:t>
            </a:r>
            <a:r>
              <a:rPr lang="fr-CH" dirty="0" smtClean="0"/>
              <a:t>»</a:t>
            </a:r>
            <a:endParaRPr lang="fr-CH" dirty="0"/>
          </a:p>
        </p:txBody>
      </p:sp>
      <p:cxnSp>
        <p:nvCxnSpPr>
          <p:cNvPr id="43" name="Connecteur droit 42"/>
          <p:cNvCxnSpPr/>
          <p:nvPr/>
        </p:nvCxnSpPr>
        <p:spPr>
          <a:xfrm>
            <a:off x="6084168" y="3356992"/>
            <a:ext cx="1152128" cy="0"/>
          </a:xfrm>
          <a:prstGeom prst="line">
            <a:avLst/>
          </a:prstGeom>
          <a:ln w="12700">
            <a:solidFill>
              <a:schemeClr val="tx1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066595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4" grpId="0" animBg="1"/>
      <p:bldP spid="26" grpId="0" animBg="1"/>
      <p:bldP spid="27" grpId="0" animBg="1"/>
      <p:bldP spid="28" grpId="0" animBg="1"/>
      <p:bldP spid="31" grpId="0" animBg="1"/>
      <p:bldP spid="32" grpId="0" animBg="1"/>
      <p:bldP spid="33" grpId="0" animBg="1"/>
      <p:bldP spid="36" grpId="0"/>
      <p:bldP spid="37" grpId="0"/>
      <p:bldP spid="38" grpId="0" animBg="1"/>
      <p:bldP spid="39" grpId="0" animBg="1"/>
      <p:bldP spid="39" grpId="1" animBg="1"/>
      <p:bldP spid="4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73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6851104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Speicherbilanz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B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628800"/>
            <a:ext cx="4402832" cy="307777"/>
          </a:xfrm>
        </p:spPr>
        <p:txBody>
          <a:bodyPr/>
          <a:lstStyle/>
          <a:p>
            <a:r>
              <a:rPr lang="fr-CH" dirty="0" err="1" smtClean="0"/>
              <a:t>Dimensionierung</a:t>
            </a:r>
            <a:r>
              <a:rPr lang="fr-CH" dirty="0" smtClean="0"/>
              <a:t> </a:t>
            </a:r>
            <a:r>
              <a:rPr lang="fr-CH" dirty="0" err="1" smtClean="0"/>
              <a:t>eines</a:t>
            </a:r>
            <a:r>
              <a:rPr lang="fr-CH" dirty="0" smtClean="0"/>
              <a:t> </a:t>
            </a:r>
            <a:r>
              <a:rPr lang="fr-CH" dirty="0" err="1" smtClean="0"/>
              <a:t>Reservoirs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2060848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4" name="Rectangle 13"/>
          <p:cNvSpPr/>
          <p:nvPr/>
        </p:nvSpPr>
        <p:spPr>
          <a:xfrm>
            <a:off x="2051720" y="3001124"/>
            <a:ext cx="5040560" cy="1077276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15" name="Rectangle 14"/>
          <p:cNvSpPr/>
          <p:nvPr/>
        </p:nvSpPr>
        <p:spPr>
          <a:xfrm>
            <a:off x="2051720" y="2353051"/>
            <a:ext cx="5040560" cy="2886199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" name="Rectangle 8"/>
          <p:cNvSpPr/>
          <p:nvPr/>
        </p:nvSpPr>
        <p:spPr>
          <a:xfrm>
            <a:off x="7524328" y="304800"/>
            <a:ext cx="360000" cy="360000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Connecteur en angle 10"/>
          <p:cNvCxnSpPr/>
          <p:nvPr/>
        </p:nvCxnSpPr>
        <p:spPr>
          <a:xfrm rot="5400000">
            <a:off x="5674176" y="606760"/>
            <a:ext cx="2152112" cy="1908192"/>
          </a:xfrm>
          <a:prstGeom prst="bentConnector3">
            <a:avLst/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Organigramme : Jonction de sommaire 19"/>
          <p:cNvSpPr/>
          <p:nvPr/>
        </p:nvSpPr>
        <p:spPr>
          <a:xfrm>
            <a:off x="1043608" y="5195850"/>
            <a:ext cx="504056" cy="504056"/>
          </a:xfrm>
          <a:prstGeom prst="flowChartSummingJunction">
            <a:avLst/>
          </a:prstGeom>
          <a:solidFill>
            <a:srgbClr val="3399FF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2" name="Rectangle 31"/>
          <p:cNvSpPr/>
          <p:nvPr/>
        </p:nvSpPr>
        <p:spPr>
          <a:xfrm>
            <a:off x="277200" y="4850624"/>
            <a:ext cx="360000" cy="360000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3" name="Connecteur en angle 22"/>
          <p:cNvCxnSpPr/>
          <p:nvPr/>
        </p:nvCxnSpPr>
        <p:spPr>
          <a:xfrm>
            <a:off x="457200" y="5030624"/>
            <a:ext cx="838436" cy="417254"/>
          </a:xfrm>
          <a:prstGeom prst="bentConnector3">
            <a:avLst/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cteur en angle 35"/>
          <p:cNvCxnSpPr/>
          <p:nvPr/>
        </p:nvCxnSpPr>
        <p:spPr>
          <a:xfrm rot="5400000" flipH="1" flipV="1">
            <a:off x="484219" y="3520337"/>
            <a:ext cx="2738958" cy="1116124"/>
          </a:xfrm>
          <a:prstGeom prst="bentConnector3">
            <a:avLst>
              <a:gd name="adj1" fmla="val 120248"/>
            </a:avLst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necteur droit 59"/>
          <p:cNvCxnSpPr/>
          <p:nvPr/>
        </p:nvCxnSpPr>
        <p:spPr>
          <a:xfrm>
            <a:off x="4644008" y="2996952"/>
            <a:ext cx="0" cy="1224136"/>
          </a:xfrm>
          <a:prstGeom prst="line">
            <a:avLst/>
          </a:prstGeom>
          <a:ln w="25400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298" name="ZoneTexte 97297"/>
          <p:cNvSpPr txBox="1"/>
          <p:nvPr/>
        </p:nvSpPr>
        <p:spPr>
          <a:xfrm>
            <a:off x="5050027" y="3417934"/>
            <a:ext cx="1821012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chemeClr val="bg1"/>
                </a:solidFill>
              </a:rPr>
              <a:t>25 % * TB max.</a:t>
            </a:r>
            <a:endParaRPr lang="de-CH" b="1" dirty="0" err="1" smtClean="0">
              <a:solidFill>
                <a:schemeClr val="bg1"/>
              </a:solidFill>
            </a:endParaRPr>
          </a:p>
        </p:txBody>
      </p:sp>
      <p:sp>
        <p:nvSpPr>
          <p:cNvPr id="85" name="ZoneTexte 84"/>
          <p:cNvSpPr txBox="1"/>
          <p:nvPr/>
        </p:nvSpPr>
        <p:spPr>
          <a:xfrm>
            <a:off x="2423150" y="3417934"/>
            <a:ext cx="1918795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chemeClr val="bg1"/>
                </a:solidFill>
              </a:rPr>
              <a:t>90 % * TB </a:t>
            </a:r>
            <a:r>
              <a:rPr lang="fr-CH" b="1" dirty="0" err="1">
                <a:solidFill>
                  <a:schemeClr val="bg1"/>
                </a:solidFill>
              </a:rPr>
              <a:t>mittel</a:t>
            </a:r>
            <a:endParaRPr lang="de-CH" b="1" dirty="0" err="1" smtClean="0">
              <a:solidFill>
                <a:schemeClr val="bg1"/>
              </a:solidFill>
            </a:endParaRPr>
          </a:p>
        </p:txBody>
      </p:sp>
      <p:sp>
        <p:nvSpPr>
          <p:cNvPr id="86" name="Rectangle 85"/>
          <p:cNvSpPr/>
          <p:nvPr/>
        </p:nvSpPr>
        <p:spPr>
          <a:xfrm>
            <a:off x="2051720" y="4080100"/>
            <a:ext cx="5040560" cy="538638"/>
          </a:xfrm>
          <a:prstGeom prst="rect">
            <a:avLst/>
          </a:prstGeom>
          <a:solidFill>
            <a:srgbClr val="99CCFF"/>
          </a:solidFill>
          <a:ln w="12700">
            <a:solidFill>
              <a:srgbClr val="99CC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7" name="ZoneTexte 86"/>
          <p:cNvSpPr txBox="1"/>
          <p:nvPr/>
        </p:nvSpPr>
        <p:spPr>
          <a:xfrm>
            <a:off x="3744546" y="4265464"/>
            <a:ext cx="1907574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>
                <a:solidFill>
                  <a:schemeClr val="bg1"/>
                </a:solidFill>
              </a:rPr>
              <a:t>5</a:t>
            </a:r>
            <a:r>
              <a:rPr lang="fr-CH" b="1" dirty="0" smtClean="0">
                <a:solidFill>
                  <a:schemeClr val="bg1"/>
                </a:solidFill>
              </a:rPr>
              <a:t>0 % * </a:t>
            </a:r>
            <a:r>
              <a:rPr lang="fr-CH" b="1" dirty="0">
                <a:solidFill>
                  <a:schemeClr val="bg1"/>
                </a:solidFill>
              </a:rPr>
              <a:t>TB </a:t>
            </a:r>
            <a:r>
              <a:rPr lang="fr-CH" b="1" dirty="0" err="1">
                <a:solidFill>
                  <a:schemeClr val="bg1"/>
                </a:solidFill>
              </a:rPr>
              <a:t>mittel</a:t>
            </a:r>
            <a:endParaRPr lang="de-CH" b="1" dirty="0" err="1" smtClean="0">
              <a:solidFill>
                <a:schemeClr val="bg1"/>
              </a:solidFill>
            </a:endParaRPr>
          </a:p>
        </p:txBody>
      </p:sp>
      <p:sp>
        <p:nvSpPr>
          <p:cNvPr id="88" name="Rectangle 87"/>
          <p:cNvSpPr/>
          <p:nvPr/>
        </p:nvSpPr>
        <p:spPr>
          <a:xfrm>
            <a:off x="2051720" y="4618738"/>
            <a:ext cx="5040560" cy="620512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 dirty="0"/>
          </a:p>
        </p:txBody>
      </p:sp>
      <p:sp>
        <p:nvSpPr>
          <p:cNvPr id="89" name="ZoneTexte 88"/>
          <p:cNvSpPr txBox="1"/>
          <p:nvPr/>
        </p:nvSpPr>
        <p:spPr>
          <a:xfrm>
            <a:off x="2286809" y="4807166"/>
            <a:ext cx="4714432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chemeClr val="bg1"/>
                </a:solidFill>
              </a:rPr>
              <a:t>Ƒ(</a:t>
            </a:r>
            <a:r>
              <a:rPr lang="fr-CH" b="1" dirty="0" err="1" smtClean="0">
                <a:solidFill>
                  <a:schemeClr val="bg1"/>
                </a:solidFill>
              </a:rPr>
              <a:t>Risiken</a:t>
            </a:r>
            <a:r>
              <a:rPr lang="fr-CH" b="1" dirty="0" smtClean="0">
                <a:solidFill>
                  <a:schemeClr val="bg1"/>
                </a:solidFill>
              </a:rPr>
              <a:t>, </a:t>
            </a:r>
            <a:r>
              <a:rPr lang="fr-CH" b="1" dirty="0" err="1" smtClean="0">
                <a:solidFill>
                  <a:schemeClr val="bg1"/>
                </a:solidFill>
              </a:rPr>
              <a:t>Sachwerten</a:t>
            </a:r>
            <a:r>
              <a:rPr lang="fr-CH" b="1" dirty="0" smtClean="0">
                <a:solidFill>
                  <a:schemeClr val="bg1"/>
                </a:solidFill>
              </a:rPr>
              <a:t>, </a:t>
            </a:r>
            <a:r>
              <a:rPr lang="fr-CH" b="1" dirty="0" err="1" smtClean="0">
                <a:solidFill>
                  <a:schemeClr val="bg1"/>
                </a:solidFill>
              </a:rPr>
              <a:t>Gefährdungen</a:t>
            </a:r>
            <a:r>
              <a:rPr lang="fr-CH" b="1" dirty="0" smtClean="0">
                <a:solidFill>
                  <a:schemeClr val="bg1"/>
                </a:solidFill>
              </a:rPr>
              <a:t>)</a:t>
            </a:r>
            <a:endParaRPr lang="de-CH" b="1" dirty="0" err="1" smtClean="0">
              <a:solidFill>
                <a:schemeClr val="bg1"/>
              </a:solidFill>
            </a:endParaRPr>
          </a:p>
        </p:txBody>
      </p:sp>
      <p:sp>
        <p:nvSpPr>
          <p:cNvPr id="97299" name="ZoneTexte 97298"/>
          <p:cNvSpPr txBox="1"/>
          <p:nvPr/>
        </p:nvSpPr>
        <p:spPr>
          <a:xfrm>
            <a:off x="7092280" y="3487192"/>
            <a:ext cx="205172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err="1" smtClean="0"/>
              <a:t>Brauchreserve</a:t>
            </a:r>
            <a:endParaRPr lang="de-CH" sz="1800" b="1" dirty="0" err="1" smtClean="0"/>
          </a:p>
        </p:txBody>
      </p:sp>
      <p:sp>
        <p:nvSpPr>
          <p:cNvPr id="91" name="ZoneTexte 90"/>
          <p:cNvSpPr txBox="1"/>
          <p:nvPr/>
        </p:nvSpPr>
        <p:spPr>
          <a:xfrm>
            <a:off x="7092280" y="4233608"/>
            <a:ext cx="205172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err="1" smtClean="0"/>
              <a:t>Störreserve</a:t>
            </a:r>
            <a:endParaRPr lang="de-CH" sz="1800" b="1" dirty="0" err="1" smtClean="0"/>
          </a:p>
        </p:txBody>
      </p:sp>
      <p:sp>
        <p:nvSpPr>
          <p:cNvPr id="92" name="ZoneTexte 91"/>
          <p:cNvSpPr txBox="1"/>
          <p:nvPr/>
        </p:nvSpPr>
        <p:spPr>
          <a:xfrm>
            <a:off x="7092280" y="4807166"/>
            <a:ext cx="205172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err="1" smtClean="0"/>
              <a:t>Löschreserve</a:t>
            </a:r>
            <a:endParaRPr lang="de-CH" sz="1800" b="1" dirty="0" err="1" smtClean="0"/>
          </a:p>
        </p:txBody>
      </p:sp>
      <p:cxnSp>
        <p:nvCxnSpPr>
          <p:cNvPr id="97301" name="Connecteur droit 97300"/>
          <p:cNvCxnSpPr/>
          <p:nvPr/>
        </p:nvCxnSpPr>
        <p:spPr>
          <a:xfrm>
            <a:off x="7092280" y="2996952"/>
            <a:ext cx="2051720" cy="0"/>
          </a:xfrm>
          <a:prstGeom prst="line">
            <a:avLst/>
          </a:prstGeom>
          <a:noFill/>
          <a:ln w="12700">
            <a:solidFill>
              <a:schemeClr val="tx2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5" name="Connecteur droit 94"/>
          <p:cNvCxnSpPr/>
          <p:nvPr/>
        </p:nvCxnSpPr>
        <p:spPr>
          <a:xfrm>
            <a:off x="7100408" y="4073071"/>
            <a:ext cx="2043592" cy="0"/>
          </a:xfrm>
          <a:prstGeom prst="line">
            <a:avLst/>
          </a:prstGeom>
          <a:noFill/>
          <a:ln w="12700">
            <a:solidFill>
              <a:schemeClr val="tx2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6" name="Connecteur droit 95"/>
          <p:cNvCxnSpPr/>
          <p:nvPr/>
        </p:nvCxnSpPr>
        <p:spPr>
          <a:xfrm>
            <a:off x="7100408" y="4623676"/>
            <a:ext cx="2043592" cy="0"/>
          </a:xfrm>
          <a:prstGeom prst="line">
            <a:avLst/>
          </a:prstGeom>
          <a:noFill/>
          <a:ln w="12700">
            <a:solidFill>
              <a:schemeClr val="tx2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97" name="Connecteur droit 96"/>
          <p:cNvCxnSpPr/>
          <p:nvPr/>
        </p:nvCxnSpPr>
        <p:spPr>
          <a:xfrm flipV="1">
            <a:off x="7100408" y="5239250"/>
            <a:ext cx="2043592" cy="1"/>
          </a:xfrm>
          <a:prstGeom prst="line">
            <a:avLst/>
          </a:prstGeom>
          <a:noFill/>
          <a:ln w="12700">
            <a:solidFill>
              <a:schemeClr val="tx2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8" name="ZoneTexte 7"/>
          <p:cNvSpPr txBox="1"/>
          <p:nvPr/>
        </p:nvSpPr>
        <p:spPr>
          <a:xfrm>
            <a:off x="1295636" y="5877272"/>
            <a:ext cx="770485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714375" indent="-714375"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rgbClr val="FF0000"/>
                </a:solidFill>
              </a:rPr>
              <a:t>Nota: Bei </a:t>
            </a:r>
            <a:r>
              <a:rPr lang="fr-CH" b="1" dirty="0" err="1" smtClean="0">
                <a:solidFill>
                  <a:srgbClr val="FF0000"/>
                </a:solidFill>
              </a:rPr>
              <a:t>Verbleibzeiten</a:t>
            </a:r>
            <a:r>
              <a:rPr lang="fr-CH" b="1" dirty="0" smtClean="0">
                <a:solidFill>
                  <a:srgbClr val="FF0000"/>
                </a:solidFill>
              </a:rPr>
              <a:t> &gt;2-3 </a:t>
            </a:r>
            <a:r>
              <a:rPr lang="fr-CH" b="1" dirty="0" err="1" smtClean="0">
                <a:solidFill>
                  <a:srgbClr val="FF0000"/>
                </a:solidFill>
              </a:rPr>
              <a:t>Tagen</a:t>
            </a:r>
            <a:r>
              <a:rPr lang="fr-CH" b="1" dirty="0" smtClean="0">
                <a:solidFill>
                  <a:srgbClr val="FF0000"/>
                </a:solidFill>
              </a:rPr>
              <a:t>, </a:t>
            </a:r>
            <a:r>
              <a:rPr lang="fr-CH" b="1" dirty="0" err="1" smtClean="0">
                <a:solidFill>
                  <a:srgbClr val="FF0000"/>
                </a:solidFill>
              </a:rPr>
              <a:t>Dimensionierung</a:t>
            </a:r>
            <a:r>
              <a:rPr lang="fr-CH" b="1" dirty="0" smtClean="0">
                <a:solidFill>
                  <a:srgbClr val="FF0000"/>
                </a:solidFill>
              </a:rPr>
              <a:t> </a:t>
            </a:r>
            <a:r>
              <a:rPr lang="fr-CH" b="1" dirty="0" err="1" smtClean="0">
                <a:solidFill>
                  <a:srgbClr val="FF0000"/>
                </a:solidFill>
              </a:rPr>
              <a:t>kleiner</a:t>
            </a:r>
            <a:endParaRPr lang="de-CH" b="1" dirty="0" err="1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9432386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9" grpId="0" animBg="1"/>
      <p:bldP spid="20" grpId="0" animBg="1"/>
      <p:bldP spid="32" grpId="0" animBg="1"/>
      <p:bldP spid="97298" grpId="0"/>
      <p:bldP spid="85" grpId="0"/>
      <p:bldP spid="86" grpId="0" animBg="1"/>
      <p:bldP spid="87" grpId="0"/>
      <p:bldP spid="88" grpId="0" animBg="1"/>
      <p:bldP spid="89" grpId="0"/>
      <p:bldP spid="97299" grpId="0"/>
      <p:bldP spid="91" grpId="0"/>
      <p:bldP spid="92" grpId="0"/>
      <p:bldP spid="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7" name="Forme libre 97286"/>
          <p:cNvSpPr/>
          <p:nvPr/>
        </p:nvSpPr>
        <p:spPr>
          <a:xfrm>
            <a:off x="6991962" y="2919470"/>
            <a:ext cx="2112381" cy="2952520"/>
          </a:xfrm>
          <a:custGeom>
            <a:avLst/>
            <a:gdLst>
              <a:gd name="connsiteX0" fmla="*/ 1358824 w 2112381"/>
              <a:gd name="connsiteY0" fmla="*/ 209320 h 2952520"/>
              <a:gd name="connsiteX1" fmla="*/ 1358824 w 2112381"/>
              <a:gd name="connsiteY1" fmla="*/ 209320 h 2952520"/>
              <a:gd name="connsiteX2" fmla="*/ 1347807 w 2112381"/>
              <a:gd name="connsiteY2" fmla="*/ 363557 h 2952520"/>
              <a:gd name="connsiteX3" fmla="*/ 1303739 w 2112381"/>
              <a:gd name="connsiteY3" fmla="*/ 440675 h 2952520"/>
              <a:gd name="connsiteX4" fmla="*/ 1281705 w 2112381"/>
              <a:gd name="connsiteY4" fmla="*/ 484742 h 2952520"/>
              <a:gd name="connsiteX5" fmla="*/ 1259672 w 2112381"/>
              <a:gd name="connsiteY5" fmla="*/ 517793 h 2952520"/>
              <a:gd name="connsiteX6" fmla="*/ 1237638 w 2112381"/>
              <a:gd name="connsiteY6" fmla="*/ 561860 h 2952520"/>
              <a:gd name="connsiteX7" fmla="*/ 1215604 w 2112381"/>
              <a:gd name="connsiteY7" fmla="*/ 594911 h 2952520"/>
              <a:gd name="connsiteX8" fmla="*/ 1204587 w 2112381"/>
              <a:gd name="connsiteY8" fmla="*/ 627961 h 2952520"/>
              <a:gd name="connsiteX9" fmla="*/ 1116452 w 2112381"/>
              <a:gd name="connsiteY9" fmla="*/ 727113 h 2952520"/>
              <a:gd name="connsiteX10" fmla="*/ 1072385 w 2112381"/>
              <a:gd name="connsiteY10" fmla="*/ 793214 h 2952520"/>
              <a:gd name="connsiteX11" fmla="*/ 962216 w 2112381"/>
              <a:gd name="connsiteY11" fmla="*/ 826265 h 2952520"/>
              <a:gd name="connsiteX12" fmla="*/ 929166 w 2112381"/>
              <a:gd name="connsiteY12" fmla="*/ 837282 h 2952520"/>
              <a:gd name="connsiteX13" fmla="*/ 885098 w 2112381"/>
              <a:gd name="connsiteY13" fmla="*/ 848299 h 2952520"/>
              <a:gd name="connsiteX14" fmla="*/ 852048 w 2112381"/>
              <a:gd name="connsiteY14" fmla="*/ 859316 h 2952520"/>
              <a:gd name="connsiteX15" fmla="*/ 785946 w 2112381"/>
              <a:gd name="connsiteY15" fmla="*/ 870332 h 2952520"/>
              <a:gd name="connsiteX16" fmla="*/ 697811 w 2112381"/>
              <a:gd name="connsiteY16" fmla="*/ 892366 h 2952520"/>
              <a:gd name="connsiteX17" fmla="*/ 609677 w 2112381"/>
              <a:gd name="connsiteY17" fmla="*/ 914400 h 2952520"/>
              <a:gd name="connsiteX18" fmla="*/ 576626 w 2112381"/>
              <a:gd name="connsiteY18" fmla="*/ 947450 h 2952520"/>
              <a:gd name="connsiteX19" fmla="*/ 521542 w 2112381"/>
              <a:gd name="connsiteY19" fmla="*/ 1046602 h 2952520"/>
              <a:gd name="connsiteX20" fmla="*/ 499508 w 2112381"/>
              <a:gd name="connsiteY20" fmla="*/ 1112703 h 2952520"/>
              <a:gd name="connsiteX21" fmla="*/ 488491 w 2112381"/>
              <a:gd name="connsiteY21" fmla="*/ 1388125 h 2952520"/>
              <a:gd name="connsiteX22" fmla="*/ 466457 w 2112381"/>
              <a:gd name="connsiteY22" fmla="*/ 1421176 h 2952520"/>
              <a:gd name="connsiteX23" fmla="*/ 433407 w 2112381"/>
              <a:gd name="connsiteY23" fmla="*/ 1432193 h 2952520"/>
              <a:gd name="connsiteX24" fmla="*/ 367305 w 2112381"/>
              <a:gd name="connsiteY24" fmla="*/ 1465243 h 2952520"/>
              <a:gd name="connsiteX25" fmla="*/ 334255 w 2112381"/>
              <a:gd name="connsiteY25" fmla="*/ 1498294 h 2952520"/>
              <a:gd name="connsiteX26" fmla="*/ 301204 w 2112381"/>
              <a:gd name="connsiteY26" fmla="*/ 1509311 h 2952520"/>
              <a:gd name="connsiteX27" fmla="*/ 246120 w 2112381"/>
              <a:gd name="connsiteY27" fmla="*/ 1542361 h 2952520"/>
              <a:gd name="connsiteX28" fmla="*/ 146968 w 2112381"/>
              <a:gd name="connsiteY28" fmla="*/ 1619479 h 2952520"/>
              <a:gd name="connsiteX29" fmla="*/ 102901 w 2112381"/>
              <a:gd name="connsiteY29" fmla="*/ 1696597 h 2952520"/>
              <a:gd name="connsiteX30" fmla="*/ 58833 w 2112381"/>
              <a:gd name="connsiteY30" fmla="*/ 1762699 h 2952520"/>
              <a:gd name="connsiteX31" fmla="*/ 47816 w 2112381"/>
              <a:gd name="connsiteY31" fmla="*/ 1806766 h 2952520"/>
              <a:gd name="connsiteX32" fmla="*/ 25783 w 2112381"/>
              <a:gd name="connsiteY32" fmla="*/ 1850834 h 2952520"/>
              <a:gd name="connsiteX33" fmla="*/ 14766 w 2112381"/>
              <a:gd name="connsiteY33" fmla="*/ 1883884 h 2952520"/>
              <a:gd name="connsiteX34" fmla="*/ 14766 w 2112381"/>
              <a:gd name="connsiteY34" fmla="*/ 2214390 h 2952520"/>
              <a:gd name="connsiteX35" fmla="*/ 25783 w 2112381"/>
              <a:gd name="connsiteY35" fmla="*/ 2247441 h 2952520"/>
              <a:gd name="connsiteX36" fmla="*/ 47816 w 2112381"/>
              <a:gd name="connsiteY36" fmla="*/ 2302525 h 2952520"/>
              <a:gd name="connsiteX37" fmla="*/ 102901 w 2112381"/>
              <a:gd name="connsiteY37" fmla="*/ 2390660 h 2952520"/>
              <a:gd name="connsiteX38" fmla="*/ 146968 w 2112381"/>
              <a:gd name="connsiteY38" fmla="*/ 2489812 h 2952520"/>
              <a:gd name="connsiteX39" fmla="*/ 180019 w 2112381"/>
              <a:gd name="connsiteY39" fmla="*/ 2533879 h 2952520"/>
              <a:gd name="connsiteX40" fmla="*/ 213069 w 2112381"/>
              <a:gd name="connsiteY40" fmla="*/ 2599981 h 2952520"/>
              <a:gd name="connsiteX41" fmla="*/ 246120 w 2112381"/>
              <a:gd name="connsiteY41" fmla="*/ 2633031 h 2952520"/>
              <a:gd name="connsiteX42" fmla="*/ 301204 w 2112381"/>
              <a:gd name="connsiteY42" fmla="*/ 2688116 h 2952520"/>
              <a:gd name="connsiteX43" fmla="*/ 334255 w 2112381"/>
              <a:gd name="connsiteY43" fmla="*/ 2699132 h 2952520"/>
              <a:gd name="connsiteX44" fmla="*/ 378322 w 2112381"/>
              <a:gd name="connsiteY44" fmla="*/ 2721166 h 2952520"/>
              <a:gd name="connsiteX45" fmla="*/ 433407 w 2112381"/>
              <a:gd name="connsiteY45" fmla="*/ 2754217 h 2952520"/>
              <a:gd name="connsiteX46" fmla="*/ 466457 w 2112381"/>
              <a:gd name="connsiteY46" fmla="*/ 2776250 h 2952520"/>
              <a:gd name="connsiteX47" fmla="*/ 510525 w 2112381"/>
              <a:gd name="connsiteY47" fmla="*/ 2798284 h 2952520"/>
              <a:gd name="connsiteX48" fmla="*/ 642727 w 2112381"/>
              <a:gd name="connsiteY48" fmla="*/ 2864385 h 2952520"/>
              <a:gd name="connsiteX49" fmla="*/ 642727 w 2112381"/>
              <a:gd name="connsiteY49" fmla="*/ 2864385 h 2952520"/>
              <a:gd name="connsiteX50" fmla="*/ 730862 w 2112381"/>
              <a:gd name="connsiteY50" fmla="*/ 2908453 h 2952520"/>
              <a:gd name="connsiteX51" fmla="*/ 1116452 w 2112381"/>
              <a:gd name="connsiteY51" fmla="*/ 2897436 h 2952520"/>
              <a:gd name="connsiteX52" fmla="*/ 1182554 w 2112381"/>
              <a:gd name="connsiteY52" fmla="*/ 2875402 h 2952520"/>
              <a:gd name="connsiteX53" fmla="*/ 1391874 w 2112381"/>
              <a:gd name="connsiteY53" fmla="*/ 2886419 h 2952520"/>
              <a:gd name="connsiteX54" fmla="*/ 1457975 w 2112381"/>
              <a:gd name="connsiteY54" fmla="*/ 2908453 h 2952520"/>
              <a:gd name="connsiteX55" fmla="*/ 1535093 w 2112381"/>
              <a:gd name="connsiteY55" fmla="*/ 2930487 h 2952520"/>
              <a:gd name="connsiteX56" fmla="*/ 1612211 w 2112381"/>
              <a:gd name="connsiteY56" fmla="*/ 2952520 h 2952520"/>
              <a:gd name="connsiteX57" fmla="*/ 1832549 w 2112381"/>
              <a:gd name="connsiteY57" fmla="*/ 2930487 h 2952520"/>
              <a:gd name="connsiteX58" fmla="*/ 1887633 w 2112381"/>
              <a:gd name="connsiteY58" fmla="*/ 2853369 h 2952520"/>
              <a:gd name="connsiteX59" fmla="*/ 1931701 w 2112381"/>
              <a:gd name="connsiteY59" fmla="*/ 2743200 h 2952520"/>
              <a:gd name="connsiteX60" fmla="*/ 1942718 w 2112381"/>
              <a:gd name="connsiteY60" fmla="*/ 2522863 h 2952520"/>
              <a:gd name="connsiteX61" fmla="*/ 1953734 w 2112381"/>
              <a:gd name="connsiteY61" fmla="*/ 2489812 h 2952520"/>
              <a:gd name="connsiteX62" fmla="*/ 1964751 w 2112381"/>
              <a:gd name="connsiteY62" fmla="*/ 2423711 h 2952520"/>
              <a:gd name="connsiteX63" fmla="*/ 1975768 w 2112381"/>
              <a:gd name="connsiteY63" fmla="*/ 1509311 h 2952520"/>
              <a:gd name="connsiteX64" fmla="*/ 1986785 w 2112381"/>
              <a:gd name="connsiteY64" fmla="*/ 1476260 h 2952520"/>
              <a:gd name="connsiteX65" fmla="*/ 2008819 w 2112381"/>
              <a:gd name="connsiteY65" fmla="*/ 1443210 h 2952520"/>
              <a:gd name="connsiteX66" fmla="*/ 2041869 w 2112381"/>
              <a:gd name="connsiteY66" fmla="*/ 1366091 h 2952520"/>
              <a:gd name="connsiteX67" fmla="*/ 2063903 w 2112381"/>
              <a:gd name="connsiteY67" fmla="*/ 1299990 h 2952520"/>
              <a:gd name="connsiteX68" fmla="*/ 2085937 w 2112381"/>
              <a:gd name="connsiteY68" fmla="*/ 1255923 h 2952520"/>
              <a:gd name="connsiteX69" fmla="*/ 2096954 w 2112381"/>
              <a:gd name="connsiteY69" fmla="*/ 991518 h 2952520"/>
              <a:gd name="connsiteX70" fmla="*/ 2074920 w 2112381"/>
              <a:gd name="connsiteY70" fmla="*/ 947450 h 2952520"/>
              <a:gd name="connsiteX71" fmla="*/ 2019836 w 2112381"/>
              <a:gd name="connsiteY71" fmla="*/ 881349 h 2952520"/>
              <a:gd name="connsiteX72" fmla="*/ 1997802 w 2112381"/>
              <a:gd name="connsiteY72" fmla="*/ 848299 h 2952520"/>
              <a:gd name="connsiteX73" fmla="*/ 1964751 w 2112381"/>
              <a:gd name="connsiteY73" fmla="*/ 826265 h 2952520"/>
              <a:gd name="connsiteX74" fmla="*/ 1887633 w 2112381"/>
              <a:gd name="connsiteY74" fmla="*/ 771181 h 2952520"/>
              <a:gd name="connsiteX75" fmla="*/ 1854583 w 2112381"/>
              <a:gd name="connsiteY75" fmla="*/ 738130 h 2952520"/>
              <a:gd name="connsiteX76" fmla="*/ 1821532 w 2112381"/>
              <a:gd name="connsiteY76" fmla="*/ 716096 h 2952520"/>
              <a:gd name="connsiteX77" fmla="*/ 1799498 w 2112381"/>
              <a:gd name="connsiteY77" fmla="*/ 683046 h 2952520"/>
              <a:gd name="connsiteX78" fmla="*/ 1788481 w 2112381"/>
              <a:gd name="connsiteY78" fmla="*/ 638978 h 2952520"/>
              <a:gd name="connsiteX79" fmla="*/ 1744414 w 2112381"/>
              <a:gd name="connsiteY79" fmla="*/ 539826 h 2952520"/>
              <a:gd name="connsiteX80" fmla="*/ 1722380 w 2112381"/>
              <a:gd name="connsiteY80" fmla="*/ 451691 h 2952520"/>
              <a:gd name="connsiteX81" fmla="*/ 1711363 w 2112381"/>
              <a:gd name="connsiteY81" fmla="*/ 407624 h 2952520"/>
              <a:gd name="connsiteX82" fmla="*/ 1689330 w 2112381"/>
              <a:gd name="connsiteY82" fmla="*/ 363557 h 2952520"/>
              <a:gd name="connsiteX83" fmla="*/ 1678313 w 2112381"/>
              <a:gd name="connsiteY83" fmla="*/ 308472 h 2952520"/>
              <a:gd name="connsiteX84" fmla="*/ 1656279 w 2112381"/>
              <a:gd name="connsiteY84" fmla="*/ 242371 h 2952520"/>
              <a:gd name="connsiteX85" fmla="*/ 1645262 w 2112381"/>
              <a:gd name="connsiteY85" fmla="*/ 209320 h 2952520"/>
              <a:gd name="connsiteX86" fmla="*/ 1634245 w 2112381"/>
              <a:gd name="connsiteY86" fmla="*/ 176270 h 2952520"/>
              <a:gd name="connsiteX87" fmla="*/ 1623228 w 2112381"/>
              <a:gd name="connsiteY87" fmla="*/ 143219 h 2952520"/>
              <a:gd name="connsiteX88" fmla="*/ 1601195 w 2112381"/>
              <a:gd name="connsiteY88" fmla="*/ 110169 h 2952520"/>
              <a:gd name="connsiteX89" fmla="*/ 1590178 w 2112381"/>
              <a:gd name="connsiteY89" fmla="*/ 77118 h 2952520"/>
              <a:gd name="connsiteX90" fmla="*/ 1524077 w 2112381"/>
              <a:gd name="connsiteY90" fmla="*/ 0 h 2952520"/>
              <a:gd name="connsiteX91" fmla="*/ 1413908 w 2112381"/>
              <a:gd name="connsiteY91" fmla="*/ 11017 h 2952520"/>
              <a:gd name="connsiteX92" fmla="*/ 1380857 w 2112381"/>
              <a:gd name="connsiteY92" fmla="*/ 22034 h 2952520"/>
              <a:gd name="connsiteX93" fmla="*/ 1336790 w 2112381"/>
              <a:gd name="connsiteY93" fmla="*/ 66101 h 2952520"/>
              <a:gd name="connsiteX94" fmla="*/ 1314756 w 2112381"/>
              <a:gd name="connsiteY94" fmla="*/ 99152 h 2952520"/>
              <a:gd name="connsiteX95" fmla="*/ 1325773 w 2112381"/>
              <a:gd name="connsiteY95" fmla="*/ 187287 h 2952520"/>
              <a:gd name="connsiteX96" fmla="*/ 1358824 w 2112381"/>
              <a:gd name="connsiteY96" fmla="*/ 209320 h 29525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2112381" h="2952520">
                <a:moveTo>
                  <a:pt x="1358824" y="209320"/>
                </a:moveTo>
                <a:lnTo>
                  <a:pt x="1358824" y="209320"/>
                </a:lnTo>
                <a:cubicBezTo>
                  <a:pt x="1355152" y="260732"/>
                  <a:pt x="1353829" y="312367"/>
                  <a:pt x="1347807" y="363557"/>
                </a:cubicBezTo>
                <a:cubicBezTo>
                  <a:pt x="1343416" y="400884"/>
                  <a:pt x="1324100" y="408098"/>
                  <a:pt x="1303739" y="440675"/>
                </a:cubicBezTo>
                <a:cubicBezTo>
                  <a:pt x="1295035" y="454602"/>
                  <a:pt x="1289853" y="470483"/>
                  <a:pt x="1281705" y="484742"/>
                </a:cubicBezTo>
                <a:cubicBezTo>
                  <a:pt x="1275136" y="496238"/>
                  <a:pt x="1266241" y="506297"/>
                  <a:pt x="1259672" y="517793"/>
                </a:cubicBezTo>
                <a:cubicBezTo>
                  <a:pt x="1251524" y="532052"/>
                  <a:pt x="1245786" y="547601"/>
                  <a:pt x="1237638" y="561860"/>
                </a:cubicBezTo>
                <a:cubicBezTo>
                  <a:pt x="1231069" y="573356"/>
                  <a:pt x="1221526" y="583068"/>
                  <a:pt x="1215604" y="594911"/>
                </a:cubicBezTo>
                <a:cubicBezTo>
                  <a:pt x="1210411" y="605298"/>
                  <a:pt x="1209780" y="617574"/>
                  <a:pt x="1204587" y="627961"/>
                </a:cubicBezTo>
                <a:cubicBezTo>
                  <a:pt x="1172516" y="692104"/>
                  <a:pt x="1174863" y="639495"/>
                  <a:pt x="1116452" y="727113"/>
                </a:cubicBezTo>
                <a:cubicBezTo>
                  <a:pt x="1101763" y="749147"/>
                  <a:pt x="1097507" y="784840"/>
                  <a:pt x="1072385" y="793214"/>
                </a:cubicBezTo>
                <a:cubicBezTo>
                  <a:pt x="915295" y="845578"/>
                  <a:pt x="1078770" y="792963"/>
                  <a:pt x="962216" y="826265"/>
                </a:cubicBezTo>
                <a:cubicBezTo>
                  <a:pt x="951050" y="829455"/>
                  <a:pt x="940332" y="834092"/>
                  <a:pt x="929166" y="837282"/>
                </a:cubicBezTo>
                <a:cubicBezTo>
                  <a:pt x="914607" y="841442"/>
                  <a:pt x="899657" y="844139"/>
                  <a:pt x="885098" y="848299"/>
                </a:cubicBezTo>
                <a:cubicBezTo>
                  <a:pt x="873932" y="851489"/>
                  <a:pt x="863384" y="856797"/>
                  <a:pt x="852048" y="859316"/>
                </a:cubicBezTo>
                <a:cubicBezTo>
                  <a:pt x="830242" y="864162"/>
                  <a:pt x="807924" y="866336"/>
                  <a:pt x="785946" y="870332"/>
                </a:cubicBezTo>
                <a:cubicBezTo>
                  <a:pt x="637082" y="897397"/>
                  <a:pt x="799725" y="866887"/>
                  <a:pt x="697811" y="892366"/>
                </a:cubicBezTo>
                <a:lnTo>
                  <a:pt x="609677" y="914400"/>
                </a:lnTo>
                <a:cubicBezTo>
                  <a:pt x="598660" y="925417"/>
                  <a:pt x="584192" y="933831"/>
                  <a:pt x="576626" y="947450"/>
                </a:cubicBezTo>
                <a:cubicBezTo>
                  <a:pt x="509222" y="1068775"/>
                  <a:pt x="598144" y="970000"/>
                  <a:pt x="521542" y="1046602"/>
                </a:cubicBezTo>
                <a:cubicBezTo>
                  <a:pt x="514197" y="1068636"/>
                  <a:pt x="500436" y="1089496"/>
                  <a:pt x="499508" y="1112703"/>
                </a:cubicBezTo>
                <a:cubicBezTo>
                  <a:pt x="495836" y="1204510"/>
                  <a:pt x="498279" y="1296767"/>
                  <a:pt x="488491" y="1388125"/>
                </a:cubicBezTo>
                <a:cubicBezTo>
                  <a:pt x="487080" y="1401290"/>
                  <a:pt x="476796" y="1412904"/>
                  <a:pt x="466457" y="1421176"/>
                </a:cubicBezTo>
                <a:cubicBezTo>
                  <a:pt x="457389" y="1428430"/>
                  <a:pt x="443794" y="1427000"/>
                  <a:pt x="433407" y="1432193"/>
                </a:cubicBezTo>
                <a:cubicBezTo>
                  <a:pt x="347984" y="1474904"/>
                  <a:pt x="450377" y="1437552"/>
                  <a:pt x="367305" y="1465243"/>
                </a:cubicBezTo>
                <a:cubicBezTo>
                  <a:pt x="356288" y="1476260"/>
                  <a:pt x="347218" y="1489652"/>
                  <a:pt x="334255" y="1498294"/>
                </a:cubicBezTo>
                <a:cubicBezTo>
                  <a:pt x="324592" y="1504736"/>
                  <a:pt x="311591" y="1504118"/>
                  <a:pt x="301204" y="1509311"/>
                </a:cubicBezTo>
                <a:cubicBezTo>
                  <a:pt x="282052" y="1518887"/>
                  <a:pt x="264185" y="1530865"/>
                  <a:pt x="246120" y="1542361"/>
                </a:cubicBezTo>
                <a:cubicBezTo>
                  <a:pt x="202538" y="1570095"/>
                  <a:pt x="177869" y="1582399"/>
                  <a:pt x="146968" y="1619479"/>
                </a:cubicBezTo>
                <a:cubicBezTo>
                  <a:pt x="119746" y="1652145"/>
                  <a:pt x="125991" y="1658113"/>
                  <a:pt x="102901" y="1696597"/>
                </a:cubicBezTo>
                <a:cubicBezTo>
                  <a:pt x="89276" y="1719305"/>
                  <a:pt x="58833" y="1762699"/>
                  <a:pt x="58833" y="1762699"/>
                </a:cubicBezTo>
                <a:cubicBezTo>
                  <a:pt x="55161" y="1777388"/>
                  <a:pt x="53132" y="1792589"/>
                  <a:pt x="47816" y="1806766"/>
                </a:cubicBezTo>
                <a:cubicBezTo>
                  <a:pt x="42050" y="1822143"/>
                  <a:pt x="32252" y="1835739"/>
                  <a:pt x="25783" y="1850834"/>
                </a:cubicBezTo>
                <a:cubicBezTo>
                  <a:pt x="21209" y="1861508"/>
                  <a:pt x="18438" y="1872867"/>
                  <a:pt x="14766" y="1883884"/>
                </a:cubicBezTo>
                <a:cubicBezTo>
                  <a:pt x="-6342" y="2031639"/>
                  <a:pt x="-3451" y="1977566"/>
                  <a:pt x="14766" y="2214390"/>
                </a:cubicBezTo>
                <a:cubicBezTo>
                  <a:pt x="15657" y="2225969"/>
                  <a:pt x="21705" y="2236567"/>
                  <a:pt x="25783" y="2247441"/>
                </a:cubicBezTo>
                <a:cubicBezTo>
                  <a:pt x="32727" y="2265958"/>
                  <a:pt x="38972" y="2284837"/>
                  <a:pt x="47816" y="2302525"/>
                </a:cubicBezTo>
                <a:cubicBezTo>
                  <a:pt x="61106" y="2329105"/>
                  <a:pt x="85420" y="2364440"/>
                  <a:pt x="102901" y="2390660"/>
                </a:cubicBezTo>
                <a:cubicBezTo>
                  <a:pt x="117200" y="2433558"/>
                  <a:pt x="118286" y="2442010"/>
                  <a:pt x="146968" y="2489812"/>
                </a:cubicBezTo>
                <a:cubicBezTo>
                  <a:pt x="156415" y="2505557"/>
                  <a:pt x="169002" y="2519190"/>
                  <a:pt x="180019" y="2533879"/>
                </a:cubicBezTo>
                <a:cubicBezTo>
                  <a:pt x="191060" y="2567001"/>
                  <a:pt x="189341" y="2571508"/>
                  <a:pt x="213069" y="2599981"/>
                </a:cubicBezTo>
                <a:cubicBezTo>
                  <a:pt x="223043" y="2611950"/>
                  <a:pt x="236146" y="2621062"/>
                  <a:pt x="246120" y="2633031"/>
                </a:cubicBezTo>
                <a:cubicBezTo>
                  <a:pt x="277596" y="2670802"/>
                  <a:pt x="255040" y="2665034"/>
                  <a:pt x="301204" y="2688116"/>
                </a:cubicBezTo>
                <a:cubicBezTo>
                  <a:pt x="311591" y="2693309"/>
                  <a:pt x="323581" y="2694558"/>
                  <a:pt x="334255" y="2699132"/>
                </a:cubicBezTo>
                <a:cubicBezTo>
                  <a:pt x="349350" y="2705601"/>
                  <a:pt x="363966" y="2713190"/>
                  <a:pt x="378322" y="2721166"/>
                </a:cubicBezTo>
                <a:cubicBezTo>
                  <a:pt x="397040" y="2731565"/>
                  <a:pt x="415249" y="2742868"/>
                  <a:pt x="433407" y="2754217"/>
                </a:cubicBezTo>
                <a:cubicBezTo>
                  <a:pt x="444635" y="2761234"/>
                  <a:pt x="454961" y="2769681"/>
                  <a:pt x="466457" y="2776250"/>
                </a:cubicBezTo>
                <a:cubicBezTo>
                  <a:pt x="480716" y="2784398"/>
                  <a:pt x="496442" y="2789834"/>
                  <a:pt x="510525" y="2798284"/>
                </a:cubicBezTo>
                <a:cubicBezTo>
                  <a:pt x="617307" y="2862354"/>
                  <a:pt x="532773" y="2827735"/>
                  <a:pt x="642727" y="2864385"/>
                </a:cubicBezTo>
                <a:lnTo>
                  <a:pt x="642727" y="2864385"/>
                </a:lnTo>
                <a:lnTo>
                  <a:pt x="730862" y="2908453"/>
                </a:lnTo>
                <a:cubicBezTo>
                  <a:pt x="859392" y="2904781"/>
                  <a:pt x="988212" y="2906819"/>
                  <a:pt x="1116452" y="2897436"/>
                </a:cubicBezTo>
                <a:cubicBezTo>
                  <a:pt x="1139616" y="2895741"/>
                  <a:pt x="1182554" y="2875402"/>
                  <a:pt x="1182554" y="2875402"/>
                </a:cubicBezTo>
                <a:cubicBezTo>
                  <a:pt x="1252327" y="2879074"/>
                  <a:pt x="1322502" y="2878094"/>
                  <a:pt x="1391874" y="2886419"/>
                </a:cubicBezTo>
                <a:cubicBezTo>
                  <a:pt x="1414934" y="2889186"/>
                  <a:pt x="1435443" y="2902820"/>
                  <a:pt x="1457975" y="2908453"/>
                </a:cubicBezTo>
                <a:cubicBezTo>
                  <a:pt x="1595794" y="2942908"/>
                  <a:pt x="1424417" y="2898866"/>
                  <a:pt x="1535093" y="2930487"/>
                </a:cubicBezTo>
                <a:cubicBezTo>
                  <a:pt x="1631926" y="2958153"/>
                  <a:pt x="1532969" y="2926105"/>
                  <a:pt x="1612211" y="2952520"/>
                </a:cubicBezTo>
                <a:cubicBezTo>
                  <a:pt x="1685657" y="2945176"/>
                  <a:pt x="1760288" y="2945541"/>
                  <a:pt x="1832549" y="2930487"/>
                </a:cubicBezTo>
                <a:cubicBezTo>
                  <a:pt x="1882992" y="2919978"/>
                  <a:pt x="1876893" y="2889169"/>
                  <a:pt x="1887633" y="2853369"/>
                </a:cubicBezTo>
                <a:cubicBezTo>
                  <a:pt x="1908054" y="2785299"/>
                  <a:pt x="1904092" y="2798416"/>
                  <a:pt x="1931701" y="2743200"/>
                </a:cubicBezTo>
                <a:cubicBezTo>
                  <a:pt x="1935373" y="2669754"/>
                  <a:pt x="1936348" y="2596124"/>
                  <a:pt x="1942718" y="2522863"/>
                </a:cubicBezTo>
                <a:cubicBezTo>
                  <a:pt x="1943724" y="2511294"/>
                  <a:pt x="1951215" y="2501148"/>
                  <a:pt x="1953734" y="2489812"/>
                </a:cubicBezTo>
                <a:cubicBezTo>
                  <a:pt x="1958580" y="2468006"/>
                  <a:pt x="1961079" y="2445745"/>
                  <a:pt x="1964751" y="2423711"/>
                </a:cubicBezTo>
                <a:cubicBezTo>
                  <a:pt x="1968423" y="2118911"/>
                  <a:pt x="1968681" y="1814051"/>
                  <a:pt x="1975768" y="1509311"/>
                </a:cubicBezTo>
                <a:cubicBezTo>
                  <a:pt x="1976038" y="1497701"/>
                  <a:pt x="1981591" y="1486647"/>
                  <a:pt x="1986785" y="1476260"/>
                </a:cubicBezTo>
                <a:cubicBezTo>
                  <a:pt x="1992706" y="1464417"/>
                  <a:pt x="2001474" y="1454227"/>
                  <a:pt x="2008819" y="1443210"/>
                </a:cubicBezTo>
                <a:cubicBezTo>
                  <a:pt x="2037961" y="1326641"/>
                  <a:pt x="1998396" y="1463907"/>
                  <a:pt x="2041869" y="1366091"/>
                </a:cubicBezTo>
                <a:cubicBezTo>
                  <a:pt x="2051302" y="1344867"/>
                  <a:pt x="2053516" y="1320763"/>
                  <a:pt x="2063903" y="1299990"/>
                </a:cubicBezTo>
                <a:lnTo>
                  <a:pt x="2085937" y="1255923"/>
                </a:lnTo>
                <a:cubicBezTo>
                  <a:pt x="2116441" y="1133909"/>
                  <a:pt x="2121153" y="1152841"/>
                  <a:pt x="2096954" y="991518"/>
                </a:cubicBezTo>
                <a:cubicBezTo>
                  <a:pt x="2094518" y="975277"/>
                  <a:pt x="2083068" y="961709"/>
                  <a:pt x="2074920" y="947450"/>
                </a:cubicBezTo>
                <a:cubicBezTo>
                  <a:pt x="2045084" y="895237"/>
                  <a:pt x="2061260" y="931057"/>
                  <a:pt x="2019836" y="881349"/>
                </a:cubicBezTo>
                <a:cubicBezTo>
                  <a:pt x="2011360" y="871177"/>
                  <a:pt x="2007165" y="857661"/>
                  <a:pt x="1997802" y="848299"/>
                </a:cubicBezTo>
                <a:cubicBezTo>
                  <a:pt x="1988439" y="838936"/>
                  <a:pt x="1974923" y="834742"/>
                  <a:pt x="1964751" y="826265"/>
                </a:cubicBezTo>
                <a:cubicBezTo>
                  <a:pt x="1897757" y="770436"/>
                  <a:pt x="1969176" y="811951"/>
                  <a:pt x="1887633" y="771181"/>
                </a:cubicBezTo>
                <a:cubicBezTo>
                  <a:pt x="1876616" y="760164"/>
                  <a:pt x="1866552" y="748104"/>
                  <a:pt x="1854583" y="738130"/>
                </a:cubicBezTo>
                <a:cubicBezTo>
                  <a:pt x="1844411" y="729653"/>
                  <a:pt x="1830895" y="725459"/>
                  <a:pt x="1821532" y="716096"/>
                </a:cubicBezTo>
                <a:cubicBezTo>
                  <a:pt x="1812169" y="706734"/>
                  <a:pt x="1806843" y="694063"/>
                  <a:pt x="1799498" y="683046"/>
                </a:cubicBezTo>
                <a:cubicBezTo>
                  <a:pt x="1795826" y="668357"/>
                  <a:pt x="1794445" y="652895"/>
                  <a:pt x="1788481" y="638978"/>
                </a:cubicBezTo>
                <a:cubicBezTo>
                  <a:pt x="1745074" y="537693"/>
                  <a:pt x="1785529" y="704285"/>
                  <a:pt x="1744414" y="539826"/>
                </a:cubicBezTo>
                <a:lnTo>
                  <a:pt x="1722380" y="451691"/>
                </a:lnTo>
                <a:cubicBezTo>
                  <a:pt x="1718708" y="437002"/>
                  <a:pt x="1718134" y="421167"/>
                  <a:pt x="1711363" y="407624"/>
                </a:cubicBezTo>
                <a:lnTo>
                  <a:pt x="1689330" y="363557"/>
                </a:lnTo>
                <a:cubicBezTo>
                  <a:pt x="1685658" y="345195"/>
                  <a:pt x="1683240" y="326537"/>
                  <a:pt x="1678313" y="308472"/>
                </a:cubicBezTo>
                <a:cubicBezTo>
                  <a:pt x="1672202" y="286065"/>
                  <a:pt x="1663624" y="264405"/>
                  <a:pt x="1656279" y="242371"/>
                </a:cubicBezTo>
                <a:lnTo>
                  <a:pt x="1645262" y="209320"/>
                </a:lnTo>
                <a:lnTo>
                  <a:pt x="1634245" y="176270"/>
                </a:lnTo>
                <a:cubicBezTo>
                  <a:pt x="1630573" y="165253"/>
                  <a:pt x="1629670" y="152882"/>
                  <a:pt x="1623228" y="143219"/>
                </a:cubicBezTo>
                <a:cubicBezTo>
                  <a:pt x="1615884" y="132202"/>
                  <a:pt x="1607116" y="122012"/>
                  <a:pt x="1601195" y="110169"/>
                </a:cubicBezTo>
                <a:cubicBezTo>
                  <a:pt x="1596002" y="99782"/>
                  <a:pt x="1595940" y="87201"/>
                  <a:pt x="1590178" y="77118"/>
                </a:cubicBezTo>
                <a:cubicBezTo>
                  <a:pt x="1571334" y="44141"/>
                  <a:pt x="1550124" y="26047"/>
                  <a:pt x="1524077" y="0"/>
                </a:cubicBezTo>
                <a:cubicBezTo>
                  <a:pt x="1487354" y="3672"/>
                  <a:pt x="1450385" y="5405"/>
                  <a:pt x="1413908" y="11017"/>
                </a:cubicBezTo>
                <a:cubicBezTo>
                  <a:pt x="1402430" y="12783"/>
                  <a:pt x="1390307" y="15284"/>
                  <a:pt x="1380857" y="22034"/>
                </a:cubicBezTo>
                <a:cubicBezTo>
                  <a:pt x="1363953" y="34108"/>
                  <a:pt x="1350309" y="50329"/>
                  <a:pt x="1336790" y="66101"/>
                </a:cubicBezTo>
                <a:cubicBezTo>
                  <a:pt x="1328173" y="76154"/>
                  <a:pt x="1322101" y="88135"/>
                  <a:pt x="1314756" y="99152"/>
                </a:cubicBezTo>
                <a:cubicBezTo>
                  <a:pt x="1318428" y="128530"/>
                  <a:pt x="1317983" y="158723"/>
                  <a:pt x="1325773" y="187287"/>
                </a:cubicBezTo>
                <a:cubicBezTo>
                  <a:pt x="1329257" y="200061"/>
                  <a:pt x="1353315" y="205648"/>
                  <a:pt x="1358824" y="209320"/>
                </a:cubicBezTo>
                <a:close/>
              </a:path>
            </a:pathLst>
          </a:custGeom>
          <a:solidFill>
            <a:srgbClr val="CCEC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43" name="Connecteur en angle 42"/>
          <p:cNvCxnSpPr/>
          <p:nvPr/>
        </p:nvCxnSpPr>
        <p:spPr>
          <a:xfrm>
            <a:off x="665203" y="2252073"/>
            <a:ext cx="3654769" cy="786669"/>
          </a:xfrm>
          <a:prstGeom prst="bentConnector3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1" name="Connecteur en angle 110"/>
          <p:cNvCxnSpPr/>
          <p:nvPr/>
        </p:nvCxnSpPr>
        <p:spPr>
          <a:xfrm>
            <a:off x="3252615" y="2230709"/>
            <a:ext cx="1067357" cy="702619"/>
          </a:xfrm>
          <a:prstGeom prst="bentConnector3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243136" y="4356720"/>
            <a:ext cx="1160512" cy="1664568"/>
          </a:xfrm>
          <a:prstGeom prst="rect">
            <a:avLst/>
          </a:prstGeom>
          <a:solidFill>
            <a:srgbClr val="CCEC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7" name="Rectangle 116"/>
          <p:cNvSpPr/>
          <p:nvPr/>
        </p:nvSpPr>
        <p:spPr>
          <a:xfrm>
            <a:off x="438398" y="4834269"/>
            <a:ext cx="956866" cy="1187019"/>
          </a:xfrm>
          <a:prstGeom prst="rect">
            <a:avLst/>
          </a:prstGeom>
          <a:solidFill>
            <a:srgbClr val="CCEC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97283" name="Rectangle 97282"/>
          <p:cNvSpPr/>
          <p:nvPr/>
        </p:nvSpPr>
        <p:spPr>
          <a:xfrm>
            <a:off x="531168" y="5359862"/>
            <a:ext cx="864096" cy="661426"/>
          </a:xfrm>
          <a:prstGeom prst="rect">
            <a:avLst/>
          </a:prstGeom>
          <a:solidFill>
            <a:srgbClr val="CCEC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Rectangle 14"/>
          <p:cNvSpPr/>
          <p:nvPr/>
        </p:nvSpPr>
        <p:spPr>
          <a:xfrm>
            <a:off x="2051720" y="4095608"/>
            <a:ext cx="1224136" cy="1709656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2" name="Rectangle 31"/>
          <p:cNvSpPr/>
          <p:nvPr/>
        </p:nvSpPr>
        <p:spPr>
          <a:xfrm>
            <a:off x="516418" y="2068285"/>
            <a:ext cx="360000" cy="360000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3" name="Connecteur en angle 22"/>
          <p:cNvCxnSpPr/>
          <p:nvPr/>
        </p:nvCxnSpPr>
        <p:spPr>
          <a:xfrm>
            <a:off x="876418" y="2363674"/>
            <a:ext cx="1931386" cy="669282"/>
          </a:xfrm>
          <a:prstGeom prst="bentConnector3">
            <a:avLst/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Ellipse 1"/>
          <p:cNvSpPr/>
          <p:nvPr/>
        </p:nvSpPr>
        <p:spPr>
          <a:xfrm>
            <a:off x="2555776" y="2780928"/>
            <a:ext cx="504056" cy="504056"/>
          </a:xfrm>
          <a:prstGeom prst="ellipse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  <p:cxnSp>
        <p:nvCxnSpPr>
          <p:cNvPr id="19" name="Connecteur droit 18"/>
          <p:cNvCxnSpPr>
            <a:stCxn id="2" idx="4"/>
          </p:cNvCxnSpPr>
          <p:nvPr/>
        </p:nvCxnSpPr>
        <p:spPr>
          <a:xfrm>
            <a:off x="2807804" y="3284984"/>
            <a:ext cx="0" cy="810624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9" name="Rectangle 48"/>
          <p:cNvSpPr/>
          <p:nvPr/>
        </p:nvSpPr>
        <p:spPr>
          <a:xfrm>
            <a:off x="3059832" y="2050709"/>
            <a:ext cx="360000" cy="360000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50" name="Connecteur en angle 49"/>
          <p:cNvCxnSpPr>
            <a:stCxn id="49" idx="2"/>
          </p:cNvCxnSpPr>
          <p:nvPr/>
        </p:nvCxnSpPr>
        <p:spPr>
          <a:xfrm rot="5400000">
            <a:off x="2712695" y="2658218"/>
            <a:ext cx="774647" cy="279628"/>
          </a:xfrm>
          <a:prstGeom prst="bentConnector3">
            <a:avLst>
              <a:gd name="adj1" fmla="val 34015"/>
            </a:avLst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Bouée 58"/>
          <p:cNvSpPr/>
          <p:nvPr/>
        </p:nvSpPr>
        <p:spPr>
          <a:xfrm>
            <a:off x="827640" y="5447878"/>
            <a:ext cx="504000" cy="504000"/>
          </a:xfrm>
          <a:prstGeom prst="donut">
            <a:avLst/>
          </a:prstGeom>
          <a:solidFill>
            <a:schemeClr val="bg1"/>
          </a:solidFill>
          <a:ln w="28575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61" name="Ellipse 60"/>
          <p:cNvSpPr/>
          <p:nvPr/>
        </p:nvSpPr>
        <p:spPr>
          <a:xfrm>
            <a:off x="935590" y="5555878"/>
            <a:ext cx="288100" cy="288000"/>
          </a:xfrm>
          <a:prstGeom prst="ellipse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62" name="Connecteur droit 61"/>
          <p:cNvCxnSpPr>
            <a:stCxn id="59" idx="6"/>
          </p:cNvCxnSpPr>
          <p:nvPr/>
        </p:nvCxnSpPr>
        <p:spPr>
          <a:xfrm>
            <a:off x="1331640" y="5699878"/>
            <a:ext cx="720080" cy="0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Forme libre 37"/>
          <p:cNvSpPr/>
          <p:nvPr/>
        </p:nvSpPr>
        <p:spPr>
          <a:xfrm>
            <a:off x="3688268" y="1904104"/>
            <a:ext cx="1615252" cy="4184724"/>
          </a:xfrm>
          <a:custGeom>
            <a:avLst/>
            <a:gdLst>
              <a:gd name="connsiteX0" fmla="*/ 1615252 w 1615252"/>
              <a:gd name="connsiteY0" fmla="*/ 0 h 4184724"/>
              <a:gd name="connsiteX1" fmla="*/ 1281765 w 1615252"/>
              <a:gd name="connsiteY1" fmla="*/ 1129552 h 4184724"/>
              <a:gd name="connsiteX2" fmla="*/ 249031 w 1615252"/>
              <a:gd name="connsiteY2" fmla="*/ 2033195 h 4184724"/>
              <a:gd name="connsiteX3" fmla="*/ 55393 w 1615252"/>
              <a:gd name="connsiteY3" fmla="*/ 3657600 h 4184724"/>
              <a:gd name="connsiteX4" fmla="*/ 1045097 w 1615252"/>
              <a:gd name="connsiteY4" fmla="*/ 4184724 h 4184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15252" h="4184724">
                <a:moveTo>
                  <a:pt x="1615252" y="0"/>
                </a:moveTo>
                <a:cubicBezTo>
                  <a:pt x="1562360" y="395343"/>
                  <a:pt x="1509468" y="790686"/>
                  <a:pt x="1281765" y="1129552"/>
                </a:cubicBezTo>
                <a:cubicBezTo>
                  <a:pt x="1054062" y="1468418"/>
                  <a:pt x="453426" y="1611854"/>
                  <a:pt x="249031" y="2033195"/>
                </a:cubicBezTo>
                <a:cubicBezTo>
                  <a:pt x="44636" y="2454536"/>
                  <a:pt x="-77285" y="3299012"/>
                  <a:pt x="55393" y="3657600"/>
                </a:cubicBezTo>
                <a:cubicBezTo>
                  <a:pt x="188071" y="4016188"/>
                  <a:pt x="817393" y="4113007"/>
                  <a:pt x="1045097" y="4184724"/>
                </a:cubicBezTo>
              </a:path>
            </a:pathLst>
          </a:custGeom>
          <a:noFill/>
          <a:ln w="28575">
            <a:solidFill>
              <a:schemeClr val="tx2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46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5338936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Soll-Zustand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C.1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6534762" cy="307777"/>
          </a:xfrm>
        </p:spPr>
        <p:txBody>
          <a:bodyPr/>
          <a:lstStyle/>
          <a:p>
            <a:r>
              <a:rPr lang="fr-CH" dirty="0" err="1" smtClean="0"/>
              <a:t>Konzept</a:t>
            </a:r>
            <a:r>
              <a:rPr lang="fr-CH" dirty="0" smtClean="0"/>
              <a:t> der </a:t>
            </a:r>
            <a:r>
              <a:rPr lang="fr-CH" dirty="0" err="1" smtClean="0"/>
              <a:t>zukünftigen</a:t>
            </a:r>
            <a:r>
              <a:rPr lang="fr-CH" dirty="0" smtClean="0"/>
              <a:t> </a:t>
            </a:r>
            <a:r>
              <a:rPr lang="fr-CH" dirty="0" err="1" smtClean="0"/>
              <a:t>Infrastrukture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9" name="Rectangle 8"/>
          <p:cNvSpPr/>
          <p:nvPr/>
        </p:nvSpPr>
        <p:spPr>
          <a:xfrm>
            <a:off x="7524328" y="304800"/>
            <a:ext cx="360000" cy="360000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11" name="Connecteur en angle 10"/>
          <p:cNvCxnSpPr/>
          <p:nvPr/>
        </p:nvCxnSpPr>
        <p:spPr>
          <a:xfrm rot="5400000">
            <a:off x="5350140" y="930796"/>
            <a:ext cx="2800184" cy="1908192"/>
          </a:xfrm>
          <a:prstGeom prst="bentConnector3">
            <a:avLst/>
          </a:prstGeom>
          <a:ln w="38100">
            <a:solidFill>
              <a:srgbClr val="3399FF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27"/>
          <p:cNvSpPr/>
          <p:nvPr/>
        </p:nvSpPr>
        <p:spPr>
          <a:xfrm>
            <a:off x="4896036" y="4220660"/>
            <a:ext cx="1620180" cy="1227218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0" name="Ellipse 29"/>
          <p:cNvSpPr/>
          <p:nvPr/>
        </p:nvSpPr>
        <p:spPr>
          <a:xfrm>
            <a:off x="5544108" y="3068960"/>
            <a:ext cx="504056" cy="504056"/>
          </a:xfrm>
          <a:prstGeom prst="ellipse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  <p:cxnSp>
        <p:nvCxnSpPr>
          <p:cNvPr id="47" name="Connecteur droit 46"/>
          <p:cNvCxnSpPr/>
          <p:nvPr/>
        </p:nvCxnSpPr>
        <p:spPr>
          <a:xfrm>
            <a:off x="5796136" y="3410464"/>
            <a:ext cx="0" cy="810624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3" name="Ellipse 32"/>
          <p:cNvSpPr/>
          <p:nvPr/>
        </p:nvSpPr>
        <p:spPr>
          <a:xfrm>
            <a:off x="4067944" y="2780928"/>
            <a:ext cx="504056" cy="504056"/>
          </a:xfrm>
          <a:prstGeom prst="ellipse">
            <a:avLst/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  <p:cxnSp>
        <p:nvCxnSpPr>
          <p:cNvPr id="12" name="Connecteur droit 11"/>
          <p:cNvCxnSpPr/>
          <p:nvPr/>
        </p:nvCxnSpPr>
        <p:spPr>
          <a:xfrm>
            <a:off x="3275856" y="4941168"/>
            <a:ext cx="1620180" cy="0"/>
          </a:xfrm>
          <a:prstGeom prst="line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droit 39"/>
          <p:cNvCxnSpPr/>
          <p:nvPr/>
        </p:nvCxnSpPr>
        <p:spPr>
          <a:xfrm flipV="1">
            <a:off x="4319972" y="3032956"/>
            <a:ext cx="0" cy="1908212"/>
          </a:xfrm>
          <a:prstGeom prst="line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5" name="Connecteur droit 54"/>
          <p:cNvCxnSpPr/>
          <p:nvPr/>
        </p:nvCxnSpPr>
        <p:spPr>
          <a:xfrm>
            <a:off x="6516216" y="4950436"/>
            <a:ext cx="1188112" cy="0"/>
          </a:xfrm>
          <a:prstGeom prst="line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9" name="Groupe 28"/>
          <p:cNvGrpSpPr/>
          <p:nvPr/>
        </p:nvGrpSpPr>
        <p:grpSpPr>
          <a:xfrm>
            <a:off x="7668344" y="4698436"/>
            <a:ext cx="504000" cy="504000"/>
            <a:chOff x="7884328" y="4698436"/>
            <a:chExt cx="504000" cy="504000"/>
          </a:xfrm>
        </p:grpSpPr>
        <p:sp>
          <p:nvSpPr>
            <p:cNvPr id="54" name="Bouée 53"/>
            <p:cNvSpPr/>
            <p:nvPr/>
          </p:nvSpPr>
          <p:spPr>
            <a:xfrm>
              <a:off x="7884328" y="4698436"/>
              <a:ext cx="504000" cy="504000"/>
            </a:xfrm>
            <a:prstGeom prst="donut">
              <a:avLst/>
            </a:prstGeom>
            <a:solidFill>
              <a:schemeClr val="bg1"/>
            </a:solidFill>
            <a:ln w="28575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>
                <a:solidFill>
                  <a:schemeClr val="tx1"/>
                </a:solidFill>
              </a:endParaRPr>
            </a:p>
          </p:txBody>
        </p:sp>
        <p:sp>
          <p:nvSpPr>
            <p:cNvPr id="27" name="Ellipse 26"/>
            <p:cNvSpPr/>
            <p:nvPr/>
          </p:nvSpPr>
          <p:spPr>
            <a:xfrm>
              <a:off x="7992278" y="4806436"/>
              <a:ext cx="288100" cy="288000"/>
            </a:xfrm>
            <a:prstGeom prst="ellipse">
              <a:avLst/>
            </a:prstGeom>
            <a:solidFill>
              <a:srgbClr val="FF0000"/>
            </a:solidFill>
            <a:ln w="1270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</p:grpSp>
      <p:cxnSp>
        <p:nvCxnSpPr>
          <p:cNvPr id="112" name="Connecteur en angle 111"/>
          <p:cNvCxnSpPr>
            <a:stCxn id="9" idx="2"/>
          </p:cNvCxnSpPr>
          <p:nvPr/>
        </p:nvCxnSpPr>
        <p:spPr>
          <a:xfrm rot="5400000">
            <a:off x="4825179" y="311993"/>
            <a:ext cx="2526342" cy="3231956"/>
          </a:xfrm>
          <a:prstGeom prst="bentConnector2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286" name="Éclair 97285"/>
          <p:cNvSpPr/>
          <p:nvPr/>
        </p:nvSpPr>
        <p:spPr>
          <a:xfrm>
            <a:off x="549517" y="4465049"/>
            <a:ext cx="404422" cy="594066"/>
          </a:xfrm>
          <a:prstGeom prst="lightningBolt">
            <a:avLst/>
          </a:prstGeom>
          <a:solidFill>
            <a:srgbClr val="FFC000"/>
          </a:solidFill>
          <a:ln w="381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Cœur 3"/>
          <p:cNvSpPr/>
          <p:nvPr/>
        </p:nvSpPr>
        <p:spPr>
          <a:xfrm>
            <a:off x="539552" y="2123166"/>
            <a:ext cx="296416" cy="257814"/>
          </a:xfrm>
          <a:prstGeom prst="heart">
            <a:avLst/>
          </a:prstGeom>
          <a:solidFill>
            <a:srgbClr val="FFFF00"/>
          </a:solidFill>
          <a:ln w="28575">
            <a:solidFill>
              <a:srgbClr val="FCB6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2" name="Cœur 41"/>
          <p:cNvSpPr/>
          <p:nvPr/>
        </p:nvSpPr>
        <p:spPr>
          <a:xfrm>
            <a:off x="3104407" y="2101802"/>
            <a:ext cx="296416" cy="257814"/>
          </a:xfrm>
          <a:prstGeom prst="heart">
            <a:avLst/>
          </a:prstGeom>
          <a:solidFill>
            <a:srgbClr val="FFFF00"/>
          </a:solidFill>
          <a:ln w="28575">
            <a:solidFill>
              <a:srgbClr val="FCB6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5" name="Éclair 44"/>
          <p:cNvSpPr/>
          <p:nvPr/>
        </p:nvSpPr>
        <p:spPr>
          <a:xfrm rot="4562718">
            <a:off x="2605592" y="2771927"/>
            <a:ext cx="404422" cy="594066"/>
          </a:xfrm>
          <a:prstGeom prst="lightningBolt">
            <a:avLst/>
          </a:prstGeom>
          <a:solidFill>
            <a:srgbClr val="FFC000"/>
          </a:solidFill>
          <a:ln w="381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  <p:sp>
        <p:nvSpPr>
          <p:cNvPr id="46" name="Cœur 45"/>
          <p:cNvSpPr/>
          <p:nvPr/>
        </p:nvSpPr>
        <p:spPr>
          <a:xfrm>
            <a:off x="8460432" y="3807725"/>
            <a:ext cx="296416" cy="257814"/>
          </a:xfrm>
          <a:prstGeom prst="heart">
            <a:avLst/>
          </a:prstGeom>
          <a:solidFill>
            <a:srgbClr val="FFFF00"/>
          </a:solidFill>
          <a:ln w="28575">
            <a:solidFill>
              <a:srgbClr val="FCB6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8" name="Cœur 47"/>
          <p:cNvSpPr/>
          <p:nvPr/>
        </p:nvSpPr>
        <p:spPr>
          <a:xfrm>
            <a:off x="7556120" y="355893"/>
            <a:ext cx="296416" cy="257814"/>
          </a:xfrm>
          <a:prstGeom prst="heart">
            <a:avLst/>
          </a:prstGeom>
          <a:solidFill>
            <a:srgbClr val="FFFF00"/>
          </a:solidFill>
          <a:ln w="28575">
            <a:solidFill>
              <a:srgbClr val="FCB6ED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1" name="Éclair 50"/>
          <p:cNvSpPr/>
          <p:nvPr/>
        </p:nvSpPr>
        <p:spPr>
          <a:xfrm rot="4562718">
            <a:off x="8019148" y="187768"/>
            <a:ext cx="404422" cy="594066"/>
          </a:xfrm>
          <a:prstGeom prst="lightningBolt">
            <a:avLst/>
          </a:prstGeom>
          <a:solidFill>
            <a:srgbClr val="FFC000"/>
          </a:solidFill>
          <a:ln w="381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  <p:sp>
        <p:nvSpPr>
          <p:cNvPr id="52" name="Éclair 51"/>
          <p:cNvSpPr/>
          <p:nvPr/>
        </p:nvSpPr>
        <p:spPr>
          <a:xfrm rot="4562718">
            <a:off x="5560865" y="3008109"/>
            <a:ext cx="404422" cy="594066"/>
          </a:xfrm>
          <a:prstGeom prst="lightningBolt">
            <a:avLst/>
          </a:prstGeom>
          <a:solidFill>
            <a:srgbClr val="FFC000"/>
          </a:solidFill>
          <a:ln w="38100">
            <a:solidFill>
              <a:srgbClr val="00B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79494863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9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1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9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287" grpId="0" animBg="1"/>
      <p:bldP spid="118" grpId="0" animBg="1"/>
      <p:bldP spid="118" grpId="1" animBg="1"/>
      <p:bldP spid="117" grpId="0" animBg="1"/>
      <p:bldP spid="117" grpId="1" animBg="1"/>
      <p:bldP spid="97283" grpId="0" animBg="1"/>
      <p:bldP spid="97283" grpId="1" animBg="1"/>
      <p:bldP spid="15" grpId="0" animBg="1"/>
      <p:bldP spid="32" grpId="0" animBg="1"/>
      <p:bldP spid="2" grpId="0" animBg="1"/>
      <p:bldP spid="2" grpId="1" animBg="1"/>
      <p:bldP spid="49" grpId="0" animBg="1"/>
      <p:bldP spid="59" grpId="0" animBg="1"/>
      <p:bldP spid="59" grpId="1" animBg="1"/>
      <p:bldP spid="61" grpId="0" animBg="1"/>
      <p:bldP spid="61" grpId="1" animBg="1"/>
      <p:bldP spid="38" grpId="0" animBg="1"/>
      <p:bldP spid="9" grpId="0" animBg="1"/>
      <p:bldP spid="28" grpId="0" animBg="1"/>
      <p:bldP spid="30" grpId="0" animBg="1"/>
      <p:bldP spid="30" grpId="1" animBg="1"/>
      <p:bldP spid="33" grpId="0" animBg="1"/>
      <p:bldP spid="97286" grpId="0" animBg="1"/>
      <p:bldP spid="97286" grpId="1" animBg="1"/>
      <p:bldP spid="4" grpId="0" animBg="1"/>
      <p:bldP spid="4" grpId="1" animBg="1"/>
      <p:bldP spid="42" grpId="0" animBg="1"/>
      <p:bldP spid="42" grpId="1" animBg="1"/>
      <p:bldP spid="45" grpId="0" animBg="1"/>
      <p:bldP spid="45" grpId="1" animBg="1"/>
      <p:bldP spid="46" grpId="0" animBg="1"/>
      <p:bldP spid="46" grpId="1" animBg="1"/>
      <p:bldP spid="48" grpId="0" animBg="1"/>
      <p:bldP spid="48" grpId="1" animBg="1"/>
      <p:bldP spid="51" grpId="0" animBg="1"/>
      <p:bldP spid="51" grpId="1" animBg="1"/>
      <p:bldP spid="52" grpId="0" animBg="1"/>
      <p:bldP spid="52" grpId="1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877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403205"/>
            <a:ext cx="3960000" cy="277319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81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5338936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Soll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C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3250704" cy="307777"/>
          </a:xfrm>
        </p:spPr>
        <p:txBody>
          <a:bodyPr/>
          <a:lstStyle/>
          <a:p>
            <a:r>
              <a:rPr lang="fr-CH" dirty="0" err="1" smtClean="0"/>
              <a:t>Organisationsbeispiele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88771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132856"/>
            <a:ext cx="3960000" cy="296230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288773" name="Picture 5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4048" y="3311381"/>
            <a:ext cx="3960000" cy="278191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835696" y="2168984"/>
            <a:ext cx="1584176" cy="2880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" name="Rectangle 2"/>
          <p:cNvSpPr/>
          <p:nvPr/>
        </p:nvSpPr>
        <p:spPr>
          <a:xfrm>
            <a:off x="1043608" y="3753160"/>
            <a:ext cx="450000" cy="14401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Rectangle 10"/>
          <p:cNvSpPr/>
          <p:nvPr/>
        </p:nvSpPr>
        <p:spPr>
          <a:xfrm>
            <a:off x="2078725" y="3303120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Rectangle 11"/>
          <p:cNvSpPr/>
          <p:nvPr/>
        </p:nvSpPr>
        <p:spPr>
          <a:xfrm>
            <a:off x="2951872" y="3033080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3" name="Rectangle 12"/>
          <p:cNvSpPr/>
          <p:nvPr/>
        </p:nvSpPr>
        <p:spPr>
          <a:xfrm>
            <a:off x="1187624" y="2655048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Rectangle 14"/>
          <p:cNvSpPr/>
          <p:nvPr/>
        </p:nvSpPr>
        <p:spPr>
          <a:xfrm>
            <a:off x="6309295" y="3333771"/>
            <a:ext cx="1584176" cy="288032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452320" y="4149080"/>
            <a:ext cx="441151" cy="72008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7" name="Rectangle 16"/>
          <p:cNvSpPr/>
          <p:nvPr/>
        </p:nvSpPr>
        <p:spPr>
          <a:xfrm>
            <a:off x="6516216" y="4419120"/>
            <a:ext cx="441151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8" name="Rectangle 17"/>
          <p:cNvSpPr/>
          <p:nvPr/>
        </p:nvSpPr>
        <p:spPr>
          <a:xfrm>
            <a:off x="5652120" y="3771048"/>
            <a:ext cx="441151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" name="Rectangle 18"/>
          <p:cNvSpPr/>
          <p:nvPr/>
        </p:nvSpPr>
        <p:spPr>
          <a:xfrm>
            <a:off x="5508103" y="4851168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Rectangle 19"/>
          <p:cNvSpPr/>
          <p:nvPr/>
        </p:nvSpPr>
        <p:spPr>
          <a:xfrm>
            <a:off x="5580112" y="2011076"/>
            <a:ext cx="441151" cy="126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Rectangle 20"/>
          <p:cNvSpPr/>
          <p:nvPr/>
        </p:nvSpPr>
        <p:spPr>
          <a:xfrm>
            <a:off x="6588223" y="1556792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2" name="Rectangle 21"/>
          <p:cNvSpPr/>
          <p:nvPr/>
        </p:nvSpPr>
        <p:spPr>
          <a:xfrm>
            <a:off x="7458793" y="1272722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3" name="Rectangle 22"/>
          <p:cNvSpPr/>
          <p:nvPr/>
        </p:nvSpPr>
        <p:spPr>
          <a:xfrm>
            <a:off x="5724128" y="908720"/>
            <a:ext cx="468000" cy="9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6" name="Connecteur droit avec flèche 25"/>
          <p:cNvCxnSpPr/>
          <p:nvPr/>
        </p:nvCxnSpPr>
        <p:spPr>
          <a:xfrm>
            <a:off x="3995936" y="4509120"/>
            <a:ext cx="1368152" cy="432048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ZoneTexte 7"/>
          <p:cNvSpPr txBox="1"/>
          <p:nvPr/>
        </p:nvSpPr>
        <p:spPr>
          <a:xfrm>
            <a:off x="6376492" y="2852936"/>
            <a:ext cx="891462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/>
              <a:t>5 Tarife</a:t>
            </a:r>
          </a:p>
        </p:txBody>
      </p:sp>
      <p:sp>
        <p:nvSpPr>
          <p:cNvPr id="29" name="ZoneTexte 28"/>
          <p:cNvSpPr txBox="1"/>
          <p:nvPr/>
        </p:nvSpPr>
        <p:spPr>
          <a:xfrm>
            <a:off x="6300653" y="5733256"/>
            <a:ext cx="748796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/>
              <a:t>1 Tarif</a:t>
            </a:r>
          </a:p>
        </p:txBody>
      </p:sp>
      <p:sp>
        <p:nvSpPr>
          <p:cNvPr id="25" name="ZoneTexte 24"/>
          <p:cNvSpPr txBox="1"/>
          <p:nvPr/>
        </p:nvSpPr>
        <p:spPr>
          <a:xfrm>
            <a:off x="390364" y="5245943"/>
            <a:ext cx="4474840" cy="73096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dirty="0" smtClean="0"/>
              <a:t>Kostenneutrale Übertragung der Anlagen, Berücksichtigung des verbleibenden technischen Sachwertes</a:t>
            </a:r>
          </a:p>
        </p:txBody>
      </p:sp>
      <p:sp>
        <p:nvSpPr>
          <p:cNvPr id="36" name="ZoneTexte 35"/>
          <p:cNvSpPr txBox="1"/>
          <p:nvPr/>
        </p:nvSpPr>
        <p:spPr>
          <a:xfrm>
            <a:off x="1805796" y="4841528"/>
            <a:ext cx="752514" cy="243656"/>
          </a:xfrm>
          <a:prstGeom prst="rect">
            <a:avLst/>
          </a:prstGeom>
          <a:ln w="12700">
            <a:solidFill>
              <a:schemeClr val="tx1"/>
            </a:solidFill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4</a:t>
            </a:r>
            <a:r>
              <a:rPr lang="de-CH" sz="1800" dirty="0" smtClean="0"/>
              <a:t> Tarife</a:t>
            </a:r>
          </a:p>
        </p:txBody>
      </p:sp>
      <p:sp>
        <p:nvSpPr>
          <p:cNvPr id="37" name="ZoneTexte 36"/>
          <p:cNvSpPr txBox="1"/>
          <p:nvPr/>
        </p:nvSpPr>
        <p:spPr>
          <a:xfrm>
            <a:off x="1437623" y="2181026"/>
            <a:ext cx="2077492" cy="2436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4</a:t>
            </a:r>
            <a:r>
              <a:rPr lang="de-CH" sz="1800" dirty="0" smtClean="0"/>
              <a:t> Gemeindeverteiler</a:t>
            </a:r>
          </a:p>
        </p:txBody>
      </p:sp>
      <p:sp>
        <p:nvSpPr>
          <p:cNvPr id="38" name="ZoneTexte 37"/>
          <p:cNvSpPr txBox="1"/>
          <p:nvPr/>
        </p:nvSpPr>
        <p:spPr>
          <a:xfrm>
            <a:off x="4932040" y="449040"/>
            <a:ext cx="4052391" cy="243656"/>
          </a:xfrm>
          <a:prstGeom prst="rect">
            <a:avLst/>
          </a:prstGeom>
          <a:solidFill>
            <a:schemeClr val="bg1"/>
          </a:solidFill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/>
              <a:t>4</a:t>
            </a:r>
            <a:r>
              <a:rPr lang="de-CH" sz="1800" dirty="0" smtClean="0"/>
              <a:t> Gemeindeverteiler (Detail), 1 Grossist</a:t>
            </a:r>
          </a:p>
        </p:txBody>
      </p:sp>
      <p:sp>
        <p:nvSpPr>
          <p:cNvPr id="39" name="ZoneTexte 38"/>
          <p:cNvSpPr txBox="1"/>
          <p:nvPr/>
        </p:nvSpPr>
        <p:spPr>
          <a:xfrm>
            <a:off x="5004048" y="3329360"/>
            <a:ext cx="3960000" cy="2436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sz="1800" dirty="0" smtClean="0"/>
              <a:t>1 Vollversorger</a:t>
            </a:r>
          </a:p>
        </p:txBody>
      </p:sp>
      <p:cxnSp>
        <p:nvCxnSpPr>
          <p:cNvPr id="6" name="Connecteur droit avec flèche 5"/>
          <p:cNvCxnSpPr/>
          <p:nvPr/>
        </p:nvCxnSpPr>
        <p:spPr>
          <a:xfrm flipV="1">
            <a:off x="3851920" y="2492896"/>
            <a:ext cx="2124183" cy="630184"/>
          </a:xfrm>
          <a:prstGeom prst="straightConnector1">
            <a:avLst/>
          </a:prstGeom>
          <a:ln w="38100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2830479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7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87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29" grpId="0"/>
      <p:bldP spid="25" grpId="0"/>
      <p:bldP spid="38" grpId="0" animBg="1"/>
      <p:bldP spid="39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5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546848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Soll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C.3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546848" cy="692497"/>
          </a:xfrm>
        </p:spPr>
        <p:txBody>
          <a:bodyPr/>
          <a:lstStyle/>
          <a:p>
            <a:r>
              <a:rPr lang="fr-CH" dirty="0" err="1" smtClean="0"/>
              <a:t>Investitionsprogramm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Finanzen</a:t>
            </a:r>
            <a:endParaRPr lang="fr-CH" dirty="0"/>
          </a:p>
          <a:p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25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3923928" y="1893019"/>
            <a:ext cx="5148064" cy="3154710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u="sng" dirty="0" err="1">
                <a:latin typeface="Arial" charset="0"/>
              </a:rPr>
              <a:t>T</a:t>
            </a:r>
            <a:r>
              <a:rPr lang="fr-CH" u="sng" dirty="0" err="1" smtClean="0">
                <a:latin typeface="Arial" charset="0"/>
              </a:rPr>
              <a:t>echnische</a:t>
            </a:r>
            <a:r>
              <a:rPr lang="fr-CH" u="sng" dirty="0" smtClean="0">
                <a:latin typeface="Arial" charset="0"/>
              </a:rPr>
              <a:t> &amp; </a:t>
            </a:r>
            <a:r>
              <a:rPr lang="fr-CH" u="sng" dirty="0" err="1" smtClean="0">
                <a:latin typeface="Arial" charset="0"/>
              </a:rPr>
              <a:t>finanzielle</a:t>
            </a:r>
            <a:r>
              <a:rPr lang="fr-CH" u="sng" dirty="0" smtClean="0">
                <a:latin typeface="Arial" charset="0"/>
              </a:rPr>
              <a:t> </a:t>
            </a:r>
            <a:r>
              <a:rPr lang="fr-CH" u="sng" dirty="0" err="1" smtClean="0">
                <a:latin typeface="Arial" charset="0"/>
              </a:rPr>
              <a:t>Abschreibungsdauer</a:t>
            </a:r>
            <a:endParaRPr lang="fr-CH" u="sng" dirty="0" smtClean="0">
              <a:latin typeface="Arial" charset="0"/>
            </a:endParaRPr>
          </a:p>
          <a:p>
            <a:pPr marL="1587" lvl="1" indent="0">
              <a:buNone/>
            </a:pPr>
            <a:endParaRPr lang="fr-CH" u="sng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Leitungen</a:t>
            </a:r>
            <a:r>
              <a:rPr lang="fr-CH" dirty="0" smtClean="0">
                <a:latin typeface="Arial" charset="0"/>
              </a:rPr>
              <a:t> = 80 </a:t>
            </a:r>
            <a:r>
              <a:rPr lang="fr-CH" dirty="0" err="1" smtClean="0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Reservoirs</a:t>
            </a:r>
            <a:r>
              <a:rPr lang="fr-CH" dirty="0" smtClean="0">
                <a:latin typeface="Arial" charset="0"/>
              </a:rPr>
              <a:t> = 66 </a:t>
            </a:r>
            <a:r>
              <a:rPr lang="fr-CH" dirty="0" err="1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Fassungen</a:t>
            </a:r>
            <a:r>
              <a:rPr lang="fr-CH" dirty="0" smtClean="0">
                <a:latin typeface="Arial" charset="0"/>
              </a:rPr>
              <a:t>, PW, </a:t>
            </a:r>
            <a:r>
              <a:rPr lang="fr-CH" dirty="0" err="1" smtClean="0">
                <a:latin typeface="Arial" charset="0"/>
              </a:rPr>
              <a:t>usw</a:t>
            </a:r>
            <a:r>
              <a:rPr lang="fr-CH" dirty="0" smtClean="0">
                <a:latin typeface="Arial" charset="0"/>
              </a:rPr>
              <a:t>. = 50 </a:t>
            </a:r>
            <a:r>
              <a:rPr lang="fr-CH" dirty="0" err="1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Innenausstattung</a:t>
            </a:r>
            <a:r>
              <a:rPr lang="fr-CH" dirty="0" smtClean="0">
                <a:latin typeface="Arial" charset="0"/>
              </a:rPr>
              <a:t> = 25 </a:t>
            </a:r>
            <a:r>
              <a:rPr lang="fr-CH" dirty="0" err="1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smtClean="0">
                <a:latin typeface="Arial" charset="0"/>
              </a:rPr>
              <a:t>MSF </a:t>
            </a:r>
            <a:r>
              <a:rPr lang="fr-CH" i="1" dirty="0" smtClean="0">
                <a:latin typeface="Arial" charset="0"/>
              </a:rPr>
              <a:t>[hardware]</a:t>
            </a:r>
            <a:r>
              <a:rPr lang="fr-CH" dirty="0" smtClean="0">
                <a:latin typeface="Arial" charset="0"/>
              </a:rPr>
              <a:t> = 20 </a:t>
            </a:r>
            <a:r>
              <a:rPr lang="fr-CH" dirty="0" err="1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smtClean="0">
                <a:latin typeface="Arial" charset="0"/>
              </a:rPr>
              <a:t>MSF </a:t>
            </a:r>
            <a:r>
              <a:rPr lang="fr-CH" i="1" dirty="0">
                <a:latin typeface="Arial" charset="0"/>
              </a:rPr>
              <a:t>[software] </a:t>
            </a:r>
            <a:r>
              <a:rPr lang="fr-CH" dirty="0">
                <a:latin typeface="Arial" charset="0"/>
              </a:rPr>
              <a:t>= </a:t>
            </a:r>
            <a:r>
              <a:rPr lang="fr-CH" dirty="0" smtClean="0">
                <a:latin typeface="Arial" charset="0"/>
              </a:rPr>
              <a:t>10 </a:t>
            </a:r>
            <a:r>
              <a:rPr lang="fr-CH" dirty="0" err="1">
                <a:latin typeface="Arial" charset="0"/>
              </a:rPr>
              <a:t>Jahre</a:t>
            </a:r>
            <a:endParaRPr lang="fr-CH" dirty="0" smtClean="0">
              <a:latin typeface="Arial" charset="0"/>
            </a:endParaRPr>
          </a:p>
        </p:txBody>
      </p:sp>
      <p:pic>
        <p:nvPicPr>
          <p:cNvPr id="273439" name="Picture 3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60848"/>
            <a:ext cx="3209967" cy="3617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10692704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739" name="ZoneTexte 243738"/>
          <p:cNvSpPr txBox="1"/>
          <p:nvPr/>
        </p:nvSpPr>
        <p:spPr>
          <a:xfrm>
            <a:off x="3744482" y="2759032"/>
            <a:ext cx="1500820" cy="320665"/>
          </a:xfrm>
          <a:prstGeom prst="rect">
            <a:avLst/>
          </a:prstGeom>
          <a:solidFill>
            <a:schemeClr val="bg1"/>
          </a:solidFill>
          <a:ln>
            <a:solidFill>
              <a:srgbClr val="FF3300"/>
            </a:solidFill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ts val="0"/>
              </a:lnSpc>
              <a:spcBef>
                <a:spcPts val="0"/>
              </a:spcBef>
              <a:spcAft>
                <a:spcPts val="0"/>
              </a:spcAft>
              <a:buClr>
                <a:srgbClr val="074EA1"/>
              </a:buClr>
            </a:pPr>
            <a:endParaRPr lang="fr-CH" sz="500" b="1" dirty="0" smtClean="0">
              <a:solidFill>
                <a:srgbClr val="FF5050"/>
              </a:solidFill>
            </a:endParaRPr>
          </a:p>
          <a:p>
            <a:pPr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rgbClr val="FF5050"/>
                </a:solidFill>
              </a:rPr>
              <a:t>… </a:t>
            </a:r>
            <a:r>
              <a:rPr lang="fr-CH" b="1" dirty="0" err="1" smtClean="0">
                <a:solidFill>
                  <a:srgbClr val="FF5050"/>
                </a:solidFill>
              </a:rPr>
              <a:t>zu</a:t>
            </a:r>
            <a:r>
              <a:rPr lang="fr-CH" b="1" dirty="0" smtClean="0">
                <a:solidFill>
                  <a:srgbClr val="FF5050"/>
                </a:solidFill>
              </a:rPr>
              <a:t> 100 %</a:t>
            </a:r>
            <a:endParaRPr lang="de-CH" b="1" dirty="0" err="1" smtClean="0">
              <a:solidFill>
                <a:srgbClr val="FF5050"/>
              </a:solidFill>
            </a:endParaRPr>
          </a:p>
        </p:txBody>
      </p:sp>
      <p:sp>
        <p:nvSpPr>
          <p:cNvPr id="243712" name="ZoneTexte 243711"/>
          <p:cNvSpPr txBox="1"/>
          <p:nvPr/>
        </p:nvSpPr>
        <p:spPr>
          <a:xfrm rot="16200000">
            <a:off x="-1731688" y="3919240"/>
            <a:ext cx="51845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rgbClr val="0066FF"/>
                </a:solidFill>
              </a:rPr>
              <a:t>Wiederbeschaffungswert</a:t>
            </a:r>
            <a:endParaRPr lang="de-CH" b="1" dirty="0" err="1" smtClean="0">
              <a:solidFill>
                <a:srgbClr val="0066FF"/>
              </a:solidFill>
            </a:endParaRPr>
          </a:p>
        </p:txBody>
      </p:sp>
      <p:sp>
        <p:nvSpPr>
          <p:cNvPr id="70" name="ZoneTexte 69"/>
          <p:cNvSpPr txBox="1"/>
          <p:nvPr/>
        </p:nvSpPr>
        <p:spPr>
          <a:xfrm rot="16200000">
            <a:off x="-1714883" y="4747332"/>
            <a:ext cx="51845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rgbClr val="FF3300"/>
                </a:solidFill>
              </a:rPr>
              <a:t>Schulden</a:t>
            </a:r>
            <a:endParaRPr lang="de-CH" b="1" dirty="0" err="1" smtClean="0">
              <a:solidFill>
                <a:srgbClr val="FF3300"/>
              </a:solidFill>
            </a:endParaRPr>
          </a:p>
        </p:txBody>
      </p:sp>
      <p:sp>
        <p:nvSpPr>
          <p:cNvPr id="91" name="ZoneTexte 90"/>
          <p:cNvSpPr txBox="1"/>
          <p:nvPr/>
        </p:nvSpPr>
        <p:spPr>
          <a:xfrm>
            <a:off x="3791260" y="2748295"/>
            <a:ext cx="1500820" cy="320665"/>
          </a:xfrm>
          <a:prstGeom prst="rect">
            <a:avLst/>
          </a:prstGeom>
          <a:solidFill>
            <a:schemeClr val="bg1"/>
          </a:solidFill>
          <a:ln>
            <a:solidFill>
              <a:srgbClr val="FF3300"/>
            </a:solidFill>
          </a:ln>
        </p:spPr>
        <p:txBody>
          <a:bodyPr vert="horz" wrap="square" lIns="0" tIns="0" rIns="0" bIns="0" rtlCol="0" anchor="ctr" anchorCtr="0">
            <a:spAutoFit/>
          </a:bodyPr>
          <a:lstStyle/>
          <a:p>
            <a:pPr>
              <a:lnSpc>
                <a:spcPts val="0"/>
              </a:lnSpc>
              <a:spcBef>
                <a:spcPts val="0"/>
              </a:spcBef>
              <a:spcAft>
                <a:spcPts val="0"/>
              </a:spcAft>
              <a:buClr>
                <a:srgbClr val="074EA1"/>
              </a:buClr>
            </a:pPr>
            <a:endParaRPr lang="fr-CH" sz="500" b="1" dirty="0" smtClean="0">
              <a:solidFill>
                <a:srgbClr val="FF5050"/>
              </a:solidFill>
            </a:endParaRPr>
          </a:p>
          <a:p>
            <a:pPr>
              <a:lnSpc>
                <a:spcPts val="1900"/>
              </a:lnSpc>
              <a:spcBef>
                <a:spcPts val="600"/>
              </a:spcBef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>
                <a:solidFill>
                  <a:srgbClr val="FF5050"/>
                </a:solidFill>
              </a:rPr>
              <a:t>… </a:t>
            </a:r>
            <a:r>
              <a:rPr lang="fr-CH" b="1" dirty="0" err="1" smtClean="0">
                <a:solidFill>
                  <a:srgbClr val="FF5050"/>
                </a:solidFill>
              </a:rPr>
              <a:t>zu</a:t>
            </a:r>
            <a:r>
              <a:rPr lang="fr-CH" b="1" dirty="0" smtClean="0">
                <a:solidFill>
                  <a:srgbClr val="FF5050"/>
                </a:solidFill>
              </a:rPr>
              <a:t> 50 %</a:t>
            </a:r>
            <a:endParaRPr lang="de-CH" b="1" dirty="0" err="1" smtClean="0">
              <a:solidFill>
                <a:srgbClr val="FF5050"/>
              </a:solidFill>
            </a:endParaRPr>
          </a:p>
        </p:txBody>
      </p:sp>
      <p:sp>
        <p:nvSpPr>
          <p:cNvPr id="73" name="ZoneTexte 72"/>
          <p:cNvSpPr txBox="1"/>
          <p:nvPr/>
        </p:nvSpPr>
        <p:spPr>
          <a:xfrm rot="16200000">
            <a:off x="-1579288" y="3949812"/>
            <a:ext cx="5184576" cy="4873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rgbClr val="3399FF"/>
                </a:solidFill>
              </a:rPr>
              <a:t>Amortisation</a:t>
            </a:r>
            <a:r>
              <a:rPr lang="fr-CH" b="1" dirty="0" smtClean="0">
                <a:solidFill>
                  <a:srgbClr val="3399FF"/>
                </a:solidFill>
              </a:rPr>
              <a:t> </a:t>
            </a:r>
            <a:r>
              <a:rPr lang="fr-CH" b="1" dirty="0" err="1" smtClean="0">
                <a:solidFill>
                  <a:srgbClr val="3399FF"/>
                </a:solidFill>
              </a:rPr>
              <a:t>und</a:t>
            </a:r>
            <a:r>
              <a:rPr lang="fr-CH" b="1" dirty="0" smtClean="0">
                <a:solidFill>
                  <a:srgbClr val="3399FF"/>
                </a:solidFill>
              </a:rPr>
              <a:t>/</a:t>
            </a:r>
            <a:r>
              <a:rPr lang="fr-CH" b="1" dirty="0" err="1" smtClean="0">
                <a:solidFill>
                  <a:srgbClr val="3399FF"/>
                </a:solidFill>
              </a:rPr>
              <a:t>dann</a:t>
            </a:r>
            <a:r>
              <a:rPr lang="fr-CH" b="1" dirty="0" smtClean="0">
                <a:solidFill>
                  <a:srgbClr val="3399FF"/>
                </a:solidFill>
              </a:rPr>
              <a:t> </a:t>
            </a:r>
            <a:r>
              <a:rPr lang="fr-CH" b="1" dirty="0" err="1" smtClean="0">
                <a:solidFill>
                  <a:srgbClr val="3399FF"/>
                </a:solidFill>
              </a:rPr>
              <a:t>Spezialfinanzierung</a:t>
            </a:r>
            <a:endParaRPr lang="de-CH" b="1" dirty="0" err="1" smtClean="0">
              <a:solidFill>
                <a:srgbClr val="3399FF"/>
              </a:solidFill>
            </a:endParaRPr>
          </a:p>
        </p:txBody>
      </p:sp>
      <p:sp>
        <p:nvSpPr>
          <p:cNvPr id="69" name="ZoneTexte 68"/>
          <p:cNvSpPr txBox="1"/>
          <p:nvPr/>
        </p:nvSpPr>
        <p:spPr>
          <a:xfrm rot="16200000">
            <a:off x="-1714883" y="3883236"/>
            <a:ext cx="51845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rgbClr val="00B050"/>
                </a:solidFill>
              </a:rPr>
              <a:t>Spezialfinanzierung</a:t>
            </a:r>
            <a:endParaRPr lang="de-CH" b="1" dirty="0" err="1" smtClean="0">
              <a:solidFill>
                <a:srgbClr val="00B050"/>
              </a:solidFill>
            </a:endParaRPr>
          </a:p>
        </p:txBody>
      </p: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845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978896" cy="1423467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Soll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C.3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Jährlicher</a:t>
            </a:r>
            <a:r>
              <a:rPr lang="fr-CH" dirty="0" smtClean="0"/>
              <a:t> </a:t>
            </a:r>
            <a:r>
              <a:rPr lang="fr-CH" dirty="0" err="1" smtClean="0"/>
              <a:t>Werterhalt</a:t>
            </a:r>
            <a:r>
              <a:rPr lang="fr-CH" dirty="0" smtClean="0"/>
              <a:t>: </a:t>
            </a:r>
            <a:r>
              <a:rPr lang="fr-CH" dirty="0" err="1" smtClean="0"/>
              <a:t>wie</a:t>
            </a:r>
            <a:r>
              <a:rPr lang="fr-CH" dirty="0" smtClean="0"/>
              <a:t> </a:t>
            </a:r>
            <a:r>
              <a:rPr lang="fr-CH" dirty="0" err="1" smtClean="0"/>
              <a:t>hoch</a:t>
            </a:r>
            <a:r>
              <a:rPr lang="fr-CH" dirty="0" smtClean="0"/>
              <a:t>?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cxnSp>
        <p:nvCxnSpPr>
          <p:cNvPr id="29" name="Connecteur droit 28"/>
          <p:cNvCxnSpPr/>
          <p:nvPr/>
        </p:nvCxnSpPr>
        <p:spPr>
          <a:xfrm flipV="1">
            <a:off x="5796136" y="4437112"/>
            <a:ext cx="1296144" cy="792088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907704" y="4509120"/>
            <a:ext cx="1656184" cy="720080"/>
          </a:xfrm>
          <a:prstGeom prst="line">
            <a:avLst/>
          </a:prstGeom>
          <a:ln w="38100">
            <a:solidFill>
              <a:srgbClr val="FF3300"/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cteur droit 37"/>
          <p:cNvCxnSpPr/>
          <p:nvPr/>
        </p:nvCxnSpPr>
        <p:spPr>
          <a:xfrm flipV="1">
            <a:off x="1907704" y="2852936"/>
            <a:ext cx="3888432" cy="2376264"/>
          </a:xfrm>
          <a:prstGeom prst="line">
            <a:avLst/>
          </a:prstGeom>
          <a:ln w="38100">
            <a:solidFill>
              <a:srgbClr val="00B050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droit 20"/>
          <p:cNvCxnSpPr/>
          <p:nvPr/>
        </p:nvCxnSpPr>
        <p:spPr>
          <a:xfrm>
            <a:off x="1907704" y="2852936"/>
            <a:ext cx="3888432" cy="2376264"/>
          </a:xfrm>
          <a:prstGeom prst="line">
            <a:avLst/>
          </a:prstGeom>
          <a:ln w="38100">
            <a:solidFill>
              <a:srgbClr val="0066FF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droit 21"/>
          <p:cNvCxnSpPr/>
          <p:nvPr/>
        </p:nvCxnSpPr>
        <p:spPr>
          <a:xfrm>
            <a:off x="5796136" y="2852936"/>
            <a:ext cx="1296144" cy="792088"/>
          </a:xfrm>
          <a:prstGeom prst="line">
            <a:avLst/>
          </a:prstGeom>
          <a:ln w="38100">
            <a:solidFill>
              <a:srgbClr val="0066FF"/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Double flèche verticale 8"/>
          <p:cNvSpPr/>
          <p:nvPr/>
        </p:nvSpPr>
        <p:spPr>
          <a:xfrm>
            <a:off x="1403648" y="2852936"/>
            <a:ext cx="216024" cy="2376264"/>
          </a:xfrm>
          <a:prstGeom prst="upDownArrow">
            <a:avLst>
              <a:gd name="adj1" fmla="val 9512"/>
              <a:gd name="adj2" fmla="val 97850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grpSp>
        <p:nvGrpSpPr>
          <p:cNvPr id="14" name="Groupe 13"/>
          <p:cNvGrpSpPr/>
          <p:nvPr/>
        </p:nvGrpSpPr>
        <p:grpSpPr>
          <a:xfrm>
            <a:off x="1907704" y="2467744"/>
            <a:ext cx="5184576" cy="3121496"/>
            <a:chOff x="1907704" y="2467744"/>
            <a:chExt cx="5184576" cy="3121496"/>
          </a:xfrm>
        </p:grpSpPr>
        <p:cxnSp>
          <p:nvCxnSpPr>
            <p:cNvPr id="31" name="Connecteur droit 30"/>
            <p:cNvCxnSpPr/>
            <p:nvPr/>
          </p:nvCxnSpPr>
          <p:spPr>
            <a:xfrm flipV="1">
              <a:off x="2555776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/>
          </p:nvCxnSpPr>
          <p:spPr>
            <a:xfrm flipV="1">
              <a:off x="3203848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Connecteur droit 32"/>
            <p:cNvCxnSpPr/>
            <p:nvPr/>
          </p:nvCxnSpPr>
          <p:spPr>
            <a:xfrm flipV="1">
              <a:off x="3851920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Connecteur droit 33"/>
            <p:cNvCxnSpPr/>
            <p:nvPr/>
          </p:nvCxnSpPr>
          <p:spPr>
            <a:xfrm flipV="1">
              <a:off x="4499992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Connecteur droit 35"/>
            <p:cNvCxnSpPr/>
            <p:nvPr/>
          </p:nvCxnSpPr>
          <p:spPr>
            <a:xfrm flipV="1">
              <a:off x="5148064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Connecteur droit 36"/>
            <p:cNvCxnSpPr/>
            <p:nvPr/>
          </p:nvCxnSpPr>
          <p:spPr>
            <a:xfrm flipV="1">
              <a:off x="6444208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40" name="Rectangle 39"/>
            <p:cNvSpPr/>
            <p:nvPr/>
          </p:nvSpPr>
          <p:spPr>
            <a:xfrm>
              <a:off x="1907704" y="2467744"/>
              <a:ext cx="5184576" cy="3121496"/>
            </a:xfrm>
            <a:prstGeom prst="rect">
              <a:avLst/>
            </a:prstGeom>
            <a:noFill/>
            <a:ln w="6350">
              <a:solidFill>
                <a:schemeClr val="tx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cxnSp>
          <p:nvCxnSpPr>
            <p:cNvPr id="41" name="Connecteur droit 40"/>
            <p:cNvCxnSpPr/>
            <p:nvPr/>
          </p:nvCxnSpPr>
          <p:spPr>
            <a:xfrm flipV="1">
              <a:off x="5801444" y="2852936"/>
              <a:ext cx="0" cy="2736304"/>
            </a:xfrm>
            <a:prstGeom prst="line">
              <a:avLst/>
            </a:prstGeom>
            <a:ln w="6350"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2" name="Connecteur droit 41"/>
          <p:cNvCxnSpPr/>
          <p:nvPr/>
        </p:nvCxnSpPr>
        <p:spPr>
          <a:xfrm>
            <a:off x="1907704" y="5229200"/>
            <a:ext cx="5184576" cy="0"/>
          </a:xfrm>
          <a:prstGeom prst="line">
            <a:avLst/>
          </a:prstGeom>
          <a:ln w="6350"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5" name="Double flèche verticale 64"/>
          <p:cNvSpPr/>
          <p:nvPr/>
        </p:nvSpPr>
        <p:spPr>
          <a:xfrm rot="5400000">
            <a:off x="3747301" y="516068"/>
            <a:ext cx="216024" cy="3881646"/>
          </a:xfrm>
          <a:prstGeom prst="upDownArrow">
            <a:avLst>
              <a:gd name="adj1" fmla="val 9512"/>
              <a:gd name="adj2" fmla="val 97850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8" name="ZoneTexte 67"/>
          <p:cNvSpPr txBox="1"/>
          <p:nvPr/>
        </p:nvSpPr>
        <p:spPr>
          <a:xfrm>
            <a:off x="1331640" y="2177232"/>
            <a:ext cx="51845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chemeClr val="tx2"/>
                </a:solidFill>
              </a:rPr>
              <a:t>Nutzungsdauer</a:t>
            </a:r>
            <a:endParaRPr lang="de-CH" b="1" dirty="0" err="1" smtClean="0">
              <a:solidFill>
                <a:schemeClr val="tx2"/>
              </a:solidFill>
            </a:endParaRPr>
          </a:p>
        </p:txBody>
      </p:sp>
      <p:sp>
        <p:nvSpPr>
          <p:cNvPr id="71" name="Double flèche verticale 70"/>
          <p:cNvSpPr/>
          <p:nvPr/>
        </p:nvSpPr>
        <p:spPr>
          <a:xfrm>
            <a:off x="1403648" y="4509120"/>
            <a:ext cx="216024" cy="720080"/>
          </a:xfrm>
          <a:prstGeom prst="upDownArrow">
            <a:avLst>
              <a:gd name="adj1" fmla="val 9512"/>
              <a:gd name="adj2" fmla="val 97850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43733" name="Connecteur droit 243732"/>
          <p:cNvCxnSpPr/>
          <p:nvPr/>
        </p:nvCxnSpPr>
        <p:spPr>
          <a:xfrm>
            <a:off x="5801444" y="2852936"/>
            <a:ext cx="1866900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7" name="ZoneTexte 86"/>
          <p:cNvSpPr txBox="1"/>
          <p:nvPr/>
        </p:nvSpPr>
        <p:spPr>
          <a:xfrm rot="16200000">
            <a:off x="5607746" y="3171875"/>
            <a:ext cx="5184576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>
                <a:solidFill>
                  <a:srgbClr val="FF5050"/>
                </a:solidFill>
              </a:rPr>
              <a:t>Finanzierungsdefizit</a:t>
            </a:r>
            <a:endParaRPr lang="de-CH" b="1" dirty="0" err="1" smtClean="0">
              <a:solidFill>
                <a:srgbClr val="FF5050"/>
              </a:solidFill>
            </a:endParaRPr>
          </a:p>
        </p:txBody>
      </p:sp>
      <p:grpSp>
        <p:nvGrpSpPr>
          <p:cNvPr id="16" name="Groupe 15"/>
          <p:cNvGrpSpPr/>
          <p:nvPr/>
        </p:nvGrpSpPr>
        <p:grpSpPr>
          <a:xfrm>
            <a:off x="1916088" y="4005064"/>
            <a:ext cx="3885356" cy="1224136"/>
            <a:chOff x="1916088" y="4005064"/>
            <a:chExt cx="3885356" cy="1224136"/>
          </a:xfrm>
        </p:grpSpPr>
        <p:cxnSp>
          <p:nvCxnSpPr>
            <p:cNvPr id="45" name="Connecteur droit 44"/>
            <p:cNvCxnSpPr/>
            <p:nvPr/>
          </p:nvCxnSpPr>
          <p:spPr>
            <a:xfrm flipV="1">
              <a:off x="1916088" y="4869160"/>
              <a:ext cx="1647800" cy="360040"/>
            </a:xfrm>
            <a:prstGeom prst="line">
              <a:avLst/>
            </a:prstGeom>
            <a:ln w="28575">
              <a:solidFill>
                <a:srgbClr val="7030A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necteur droit 47"/>
            <p:cNvCxnSpPr/>
            <p:nvPr/>
          </p:nvCxnSpPr>
          <p:spPr>
            <a:xfrm flipV="1">
              <a:off x="3563888" y="4005064"/>
              <a:ext cx="2237556" cy="864096"/>
            </a:xfrm>
            <a:prstGeom prst="line">
              <a:avLst/>
            </a:prstGeom>
            <a:ln w="28575">
              <a:solidFill>
                <a:srgbClr val="7030A0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e 23"/>
          <p:cNvGrpSpPr/>
          <p:nvPr/>
        </p:nvGrpSpPr>
        <p:grpSpPr>
          <a:xfrm>
            <a:off x="1907704" y="3293703"/>
            <a:ext cx="3888432" cy="1935497"/>
            <a:chOff x="1907704" y="3293703"/>
            <a:chExt cx="3888432" cy="1935497"/>
          </a:xfrm>
        </p:grpSpPr>
        <p:cxnSp>
          <p:nvCxnSpPr>
            <p:cNvPr id="3" name="Connecteur droit 2"/>
            <p:cNvCxnSpPr/>
            <p:nvPr/>
          </p:nvCxnSpPr>
          <p:spPr>
            <a:xfrm flipV="1">
              <a:off x="1907704" y="4509120"/>
              <a:ext cx="1656184" cy="720080"/>
            </a:xfrm>
            <a:prstGeom prst="line">
              <a:avLst/>
            </a:prstGeom>
            <a:ln w="28575">
              <a:solidFill>
                <a:srgbClr val="FF9966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necteur droit 55"/>
            <p:cNvCxnSpPr/>
            <p:nvPr/>
          </p:nvCxnSpPr>
          <p:spPr>
            <a:xfrm flipV="1">
              <a:off x="3563888" y="3293703"/>
              <a:ext cx="2232248" cy="1215417"/>
            </a:xfrm>
            <a:prstGeom prst="line">
              <a:avLst/>
            </a:prstGeom>
            <a:ln w="28575">
              <a:solidFill>
                <a:srgbClr val="FF9966"/>
              </a:solidFill>
              <a:prstDash val="sysDash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60" name="Connecteur droit 59"/>
          <p:cNvCxnSpPr/>
          <p:nvPr/>
        </p:nvCxnSpPr>
        <p:spPr>
          <a:xfrm>
            <a:off x="5796136" y="3293703"/>
            <a:ext cx="1866900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1" name="Double flèche verticale 60"/>
          <p:cNvSpPr/>
          <p:nvPr/>
        </p:nvSpPr>
        <p:spPr>
          <a:xfrm>
            <a:off x="7302264" y="2852936"/>
            <a:ext cx="183040" cy="440768"/>
          </a:xfrm>
          <a:prstGeom prst="upDownArrow">
            <a:avLst>
              <a:gd name="adj1" fmla="val 9512"/>
              <a:gd name="adj2" fmla="val 97850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62" name="Connecteur droit 61"/>
          <p:cNvCxnSpPr/>
          <p:nvPr/>
        </p:nvCxnSpPr>
        <p:spPr>
          <a:xfrm>
            <a:off x="5801444" y="4007495"/>
            <a:ext cx="1866900" cy="0"/>
          </a:xfrm>
          <a:prstGeom prst="line">
            <a:avLst/>
          </a:prstGeom>
          <a:ln w="6350">
            <a:solidFill>
              <a:schemeClr val="tx2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3" name="Double flèche verticale 62"/>
          <p:cNvSpPr/>
          <p:nvPr/>
        </p:nvSpPr>
        <p:spPr>
          <a:xfrm>
            <a:off x="7304648" y="2869792"/>
            <a:ext cx="183040" cy="1135271"/>
          </a:xfrm>
          <a:prstGeom prst="upDownArrow">
            <a:avLst>
              <a:gd name="adj1" fmla="val 9512"/>
              <a:gd name="adj2" fmla="val 97850"/>
            </a:avLst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6559484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7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1" presetID="1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1" presetClass="entr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3739" grpId="0" animBg="1"/>
      <p:bldP spid="243739" grpId="1" animBg="1"/>
      <p:bldP spid="243712" grpId="0"/>
      <p:bldP spid="243712" grpId="1"/>
      <p:bldP spid="70" grpId="0"/>
      <p:bldP spid="70" grpId="1"/>
      <p:bldP spid="91" grpId="0" animBg="1"/>
      <p:bldP spid="73" grpId="0"/>
      <p:bldP spid="69" grpId="0"/>
      <p:bldP spid="69" grpId="1"/>
      <p:bldP spid="9" grpId="0" animBg="1"/>
      <p:bldP spid="9" grpId="1" animBg="1"/>
      <p:bldP spid="65" grpId="0" animBg="1"/>
      <p:bldP spid="68" grpId="0"/>
      <p:bldP spid="71" grpId="0" animBg="1"/>
      <p:bldP spid="71" grpId="1" animBg="1"/>
      <p:bldP spid="87" grpId="0"/>
      <p:bldP spid="87" grpId="1"/>
      <p:bldP spid="61" grpId="0" animBg="1"/>
      <p:bldP spid="61" grpId="1" animBg="1"/>
      <p:bldP spid="61" grpId="2" animBg="1"/>
      <p:bldP spid="63" grpId="0" animBg="1"/>
      <p:bldP spid="63" grpId="1" animBg="1"/>
      <p:bldP spid="63" grpId="2" animBg="1"/>
      <p:bldP spid="63" grpId="3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199" y="304800"/>
            <a:ext cx="6203033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Versorgung</a:t>
            </a:r>
            <a:r>
              <a:rPr lang="fr-CH" dirty="0" smtClean="0">
                <a:latin typeface="Arial" charset="0"/>
              </a:rPr>
              <a:t> in </a:t>
            </a:r>
            <a:r>
              <a:rPr lang="fr-CH" dirty="0" err="1" smtClean="0">
                <a:latin typeface="Arial" charset="0"/>
              </a:rPr>
              <a:t>Notlagen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C.4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Versorgungskonzept</a:t>
            </a:r>
            <a:r>
              <a:rPr lang="fr-CH" dirty="0" smtClean="0"/>
              <a:t> </a:t>
            </a:r>
            <a:r>
              <a:rPr lang="fr-CH" dirty="0" err="1" smtClean="0"/>
              <a:t>für</a:t>
            </a:r>
            <a:r>
              <a:rPr lang="fr-CH" dirty="0" smtClean="0"/>
              <a:t> </a:t>
            </a:r>
            <a:r>
              <a:rPr lang="fr-CH" dirty="0" err="1" smtClean="0"/>
              <a:t>Notlagen</a:t>
            </a:r>
            <a:r>
              <a:rPr lang="fr-CH" dirty="0" smtClean="0"/>
              <a:t> </a:t>
            </a:r>
            <a:r>
              <a:rPr lang="fr-CH" dirty="0" err="1" smtClean="0"/>
              <a:t>gemäss</a:t>
            </a:r>
            <a:r>
              <a:rPr lang="fr-CH" dirty="0" smtClean="0"/>
              <a:t> VTN: </a:t>
            </a:r>
            <a:r>
              <a:rPr lang="fr-CH" dirty="0" err="1" smtClean="0"/>
              <a:t>Risikoanalyse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7" name="ZoneTexte 6"/>
          <p:cNvSpPr txBox="1"/>
          <p:nvPr/>
        </p:nvSpPr>
        <p:spPr>
          <a:xfrm>
            <a:off x="467544" y="2348880"/>
            <a:ext cx="4248472" cy="23083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09838" indent="-2509838" algn="l"/>
            <a:r>
              <a:rPr lang="fr-CH" b="1" dirty="0" smtClean="0"/>
              <a:t>Die «normale» </a:t>
            </a:r>
            <a:r>
              <a:rPr lang="fr-CH" b="1" dirty="0" err="1" smtClean="0"/>
              <a:t>Krise</a:t>
            </a:r>
            <a:r>
              <a:rPr lang="fr-CH" b="1" dirty="0" smtClean="0"/>
              <a:t>: </a:t>
            </a:r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Trockenheit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Leitungsbruch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Netzverschmutzung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Ausfall</a:t>
            </a:r>
            <a:r>
              <a:rPr lang="fr-CH" dirty="0" smtClean="0"/>
              <a:t> der </a:t>
            </a:r>
            <a:r>
              <a:rPr lang="fr-CH" dirty="0" err="1" smtClean="0"/>
              <a:t>Hauptressource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endParaRPr lang="fr-CH" sz="1800" dirty="0"/>
          </a:p>
          <a:p>
            <a:r>
              <a:rPr lang="fr-CH" sz="1600" dirty="0"/>
              <a:t/>
            </a:r>
            <a:br>
              <a:rPr lang="fr-CH" sz="1600" dirty="0"/>
            </a:br>
            <a:endParaRPr lang="de-CH" sz="1600" b="1" dirty="0" err="1" smtClean="0"/>
          </a:p>
        </p:txBody>
      </p:sp>
      <p:sp>
        <p:nvSpPr>
          <p:cNvPr id="8" name="ZoneTexte 7"/>
          <p:cNvSpPr txBox="1"/>
          <p:nvPr/>
        </p:nvSpPr>
        <p:spPr>
          <a:xfrm>
            <a:off x="4801447" y="2348880"/>
            <a:ext cx="4073624" cy="21544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09838" indent="-2509838" algn="l"/>
            <a:r>
              <a:rPr lang="fr-CH" b="1" dirty="0" smtClean="0"/>
              <a:t>Die «anormale» - </a:t>
            </a:r>
            <a:r>
              <a:rPr lang="fr-CH" b="1" dirty="0" err="1" smtClean="0"/>
              <a:t>kritische</a:t>
            </a:r>
            <a:r>
              <a:rPr lang="fr-CH" b="1" dirty="0" smtClean="0"/>
              <a:t>:</a:t>
            </a:r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Erdbeben</a:t>
            </a:r>
            <a:r>
              <a:rPr lang="fr-CH" dirty="0" smtClean="0"/>
              <a:t> 5.6, </a:t>
            </a:r>
            <a:r>
              <a:rPr lang="fr-CH" dirty="0" err="1" smtClean="0"/>
              <a:t>Epizentrum</a:t>
            </a:r>
            <a:r>
              <a:rPr lang="fr-CH" dirty="0" smtClean="0"/>
              <a:t> </a:t>
            </a:r>
            <a:r>
              <a:rPr lang="fr-CH" dirty="0" err="1" smtClean="0"/>
              <a:t>Schwarzsee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Massiver</a:t>
            </a:r>
            <a:r>
              <a:rPr lang="fr-CH" dirty="0" smtClean="0"/>
              <a:t> </a:t>
            </a:r>
            <a:r>
              <a:rPr lang="fr-CH" dirty="0" err="1" smtClean="0"/>
              <a:t>chemischer</a:t>
            </a:r>
            <a:r>
              <a:rPr lang="fr-CH" dirty="0" smtClean="0"/>
              <a:t> </a:t>
            </a:r>
            <a:r>
              <a:rPr lang="fr-CH" dirty="0" err="1" smtClean="0"/>
              <a:t>Unfall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Kriegsfall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i="1" dirty="0" err="1" smtClean="0"/>
              <a:t>Heute</a:t>
            </a:r>
            <a:r>
              <a:rPr lang="fr-CH" i="1" dirty="0" smtClean="0"/>
              <a:t> </a:t>
            </a:r>
            <a:r>
              <a:rPr lang="fr-CH" i="1" dirty="0" err="1" smtClean="0"/>
              <a:t>noch</a:t>
            </a:r>
            <a:r>
              <a:rPr lang="fr-CH" i="1" dirty="0" smtClean="0"/>
              <a:t> </a:t>
            </a:r>
            <a:r>
              <a:rPr lang="fr-CH" i="1" dirty="0" err="1" smtClean="0"/>
              <a:t>unbekannte</a:t>
            </a:r>
            <a:r>
              <a:rPr lang="fr-CH" i="1" dirty="0" smtClean="0"/>
              <a:t> </a:t>
            </a:r>
            <a:r>
              <a:rPr lang="fr-CH" i="1" dirty="0" err="1" smtClean="0"/>
              <a:t>Gefahren</a:t>
            </a:r>
            <a:endParaRPr lang="fr-CH" i="1" dirty="0" smtClean="0"/>
          </a:p>
        </p:txBody>
      </p:sp>
      <p:pic>
        <p:nvPicPr>
          <p:cNvPr id="248873" name="Picture 41" descr="C:\Users\Meienbergerg\Desktop\imagesCAK6Y5E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4208" y="4463636"/>
            <a:ext cx="2345038" cy="155765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ZoneTexte 8"/>
          <p:cNvSpPr txBox="1"/>
          <p:nvPr/>
        </p:nvSpPr>
        <p:spPr>
          <a:xfrm>
            <a:off x="3860857" y="5687772"/>
            <a:ext cx="3024336" cy="243656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i="1" dirty="0" err="1" smtClean="0"/>
              <a:t>Godzilla</a:t>
            </a:r>
            <a:r>
              <a:rPr lang="fr-CH" sz="1800" i="1" dirty="0" smtClean="0"/>
              <a:t> </a:t>
            </a:r>
            <a:r>
              <a:rPr lang="fr-CH" sz="1800" i="1" dirty="0" err="1" smtClean="0"/>
              <a:t>grundwasserus</a:t>
            </a:r>
            <a:endParaRPr lang="de-CH" sz="18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3672625849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8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9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0100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52997"/>
            <a:ext cx="6131024" cy="41212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57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5626968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Erwartet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Resultate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D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Massnahmentabelle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2" name="Cadre 1"/>
          <p:cNvSpPr/>
          <p:nvPr/>
        </p:nvSpPr>
        <p:spPr>
          <a:xfrm>
            <a:off x="827584" y="2924944"/>
            <a:ext cx="576064" cy="360040"/>
          </a:xfrm>
          <a:prstGeom prst="frame">
            <a:avLst>
              <a:gd name="adj1" fmla="val 13052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6" name="Connecteur droit avec flèche 5"/>
          <p:cNvCxnSpPr/>
          <p:nvPr/>
        </p:nvCxnSpPr>
        <p:spPr>
          <a:xfrm flipV="1">
            <a:off x="1403648" y="1686348"/>
            <a:ext cx="5328592" cy="123859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ZoneTexte 6"/>
          <p:cNvSpPr txBox="1"/>
          <p:nvPr/>
        </p:nvSpPr>
        <p:spPr>
          <a:xfrm>
            <a:off x="6819350" y="1566940"/>
            <a:ext cx="1040349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/>
              <a:t>Horizont</a:t>
            </a:r>
            <a:endParaRPr lang="de-CH" b="1" dirty="0" err="1" smtClean="0"/>
          </a:p>
        </p:txBody>
      </p:sp>
      <p:sp>
        <p:nvSpPr>
          <p:cNvPr id="15" name="Cadre 14"/>
          <p:cNvSpPr/>
          <p:nvPr/>
        </p:nvSpPr>
        <p:spPr>
          <a:xfrm>
            <a:off x="1369020" y="3284984"/>
            <a:ext cx="1690811" cy="504056"/>
          </a:xfrm>
          <a:prstGeom prst="frame">
            <a:avLst>
              <a:gd name="adj1" fmla="val 13052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16" name="Connecteur droit avec flèche 15"/>
          <p:cNvCxnSpPr/>
          <p:nvPr/>
        </p:nvCxnSpPr>
        <p:spPr>
          <a:xfrm flipV="1">
            <a:off x="3059831" y="2492896"/>
            <a:ext cx="3672409" cy="798697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ZoneTexte 18"/>
          <p:cNvSpPr txBox="1"/>
          <p:nvPr/>
        </p:nvSpPr>
        <p:spPr>
          <a:xfrm>
            <a:off x="6848065" y="2371068"/>
            <a:ext cx="1468351" cy="24365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/>
              <a:t>Massnahme</a:t>
            </a:r>
            <a:endParaRPr lang="de-CH" b="1" dirty="0" err="1" smtClean="0"/>
          </a:p>
        </p:txBody>
      </p:sp>
      <p:sp>
        <p:nvSpPr>
          <p:cNvPr id="20" name="Cadre 19"/>
          <p:cNvSpPr/>
          <p:nvPr/>
        </p:nvSpPr>
        <p:spPr>
          <a:xfrm>
            <a:off x="3026321" y="3789040"/>
            <a:ext cx="609576" cy="252028"/>
          </a:xfrm>
          <a:prstGeom prst="frame">
            <a:avLst>
              <a:gd name="adj1" fmla="val 13052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21" name="Connecteur droit avec flèche 20"/>
          <p:cNvCxnSpPr/>
          <p:nvPr/>
        </p:nvCxnSpPr>
        <p:spPr>
          <a:xfrm flipV="1">
            <a:off x="3629784" y="3104964"/>
            <a:ext cx="3102456" cy="701986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ZoneTexte 22"/>
          <p:cNvSpPr txBox="1"/>
          <p:nvPr/>
        </p:nvSpPr>
        <p:spPr>
          <a:xfrm>
            <a:off x="6800180" y="2983136"/>
            <a:ext cx="2308324" cy="56425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/>
              <a:t>Geschätzte</a:t>
            </a:r>
            <a:r>
              <a:rPr lang="fr-CH" b="1" dirty="0" smtClean="0"/>
              <a:t> </a:t>
            </a:r>
            <a:r>
              <a:rPr lang="fr-CH" b="1" dirty="0" err="1" smtClean="0"/>
              <a:t>Kosten</a:t>
            </a:r>
            <a:endParaRPr lang="fr-CH" b="1" dirty="0" smtClean="0"/>
          </a:p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/>
              <a:t>(+/-25%)</a:t>
            </a:r>
            <a:endParaRPr lang="de-CH" b="1" dirty="0" err="1" smtClean="0"/>
          </a:p>
        </p:txBody>
      </p:sp>
      <p:sp>
        <p:nvSpPr>
          <p:cNvPr id="24" name="Cadre 23"/>
          <p:cNvSpPr/>
          <p:nvPr/>
        </p:nvSpPr>
        <p:spPr>
          <a:xfrm>
            <a:off x="5580112" y="4581128"/>
            <a:ext cx="864096" cy="432048"/>
          </a:xfrm>
          <a:prstGeom prst="frame">
            <a:avLst>
              <a:gd name="adj1" fmla="val 13052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cxnSp>
        <p:nvCxnSpPr>
          <p:cNvPr id="25" name="Connecteur droit avec flèche 24"/>
          <p:cNvCxnSpPr/>
          <p:nvPr/>
        </p:nvCxnSpPr>
        <p:spPr>
          <a:xfrm flipV="1">
            <a:off x="6372200" y="4509120"/>
            <a:ext cx="360040" cy="106302"/>
          </a:xfrm>
          <a:prstGeom prst="straightConnector1">
            <a:avLst/>
          </a:prstGeom>
          <a:ln w="38100">
            <a:solidFill>
              <a:srgbClr val="FF0000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ZoneTexte 26"/>
          <p:cNvSpPr txBox="1"/>
          <p:nvPr/>
        </p:nvSpPr>
        <p:spPr>
          <a:xfrm>
            <a:off x="6848064" y="4453012"/>
            <a:ext cx="2149093" cy="8079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err="1" smtClean="0"/>
              <a:t>Synergien</a:t>
            </a:r>
            <a:r>
              <a:rPr lang="fr-CH" b="1" dirty="0" smtClean="0"/>
              <a:t> 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/>
              <a:t>mit </a:t>
            </a:r>
            <a:r>
              <a:rPr lang="fr-CH" b="1" dirty="0" err="1" smtClean="0"/>
              <a:t>anderen</a:t>
            </a:r>
            <a:r>
              <a:rPr lang="fr-CH" b="1" dirty="0" smtClean="0"/>
              <a:t> </a:t>
            </a:r>
            <a:r>
              <a:rPr lang="fr-CH" b="1" dirty="0" err="1" smtClean="0"/>
              <a:t>Projekten</a:t>
            </a:r>
            <a:r>
              <a:rPr lang="fr-CH" b="1" dirty="0" smtClean="0"/>
              <a:t>?</a:t>
            </a:r>
            <a:endParaRPr lang="de-CH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1809608990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7" grpId="0"/>
      <p:bldP spid="15" grpId="0" animBg="1"/>
      <p:bldP spid="19" grpId="0"/>
      <p:bldP spid="20" grpId="0" animBg="1"/>
      <p:bldP spid="23" grpId="0"/>
      <p:bldP spid="24" grpId="0" animBg="1"/>
      <p:bldP spid="27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9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>
                <a:latin typeface="Arial" charset="0"/>
              </a:rPr>
              <a:t>Erwartete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Resultate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D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Übersichtspla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34517" name="Picture 21" descr="C:\Users\Meienbergerg\Desktop\Capture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704" y="2060847"/>
            <a:ext cx="5812452" cy="40324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4543" name="Picture 47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666" y="238593"/>
            <a:ext cx="2504306" cy="2492381"/>
          </a:xfrm>
          <a:prstGeom prst="rect">
            <a:avLst/>
          </a:prstGeom>
          <a:noFill/>
          <a:ln w="1905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" name="Ellipse 1"/>
          <p:cNvSpPr/>
          <p:nvPr/>
        </p:nvSpPr>
        <p:spPr>
          <a:xfrm>
            <a:off x="4178300" y="2730974"/>
            <a:ext cx="825748" cy="770034"/>
          </a:xfrm>
          <a:prstGeom prst="ellipse">
            <a:avLst/>
          </a:prstGeom>
          <a:noFill/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4" name="Connecteur droit avec flèche 3"/>
          <p:cNvCxnSpPr/>
          <p:nvPr/>
        </p:nvCxnSpPr>
        <p:spPr>
          <a:xfrm flipV="1">
            <a:off x="5004048" y="2730974"/>
            <a:ext cx="1296144" cy="193970"/>
          </a:xfrm>
          <a:prstGeom prst="straightConnector1">
            <a:avLst/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9321359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8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2"/>
            </p:custDataLst>
          </p:nvPr>
        </p:nvSpPr>
        <p:spPr>
          <a:xfrm>
            <a:off x="457200" y="1700808"/>
            <a:ext cx="8363272" cy="307777"/>
          </a:xfrm>
        </p:spPr>
        <p:txBody>
          <a:bodyPr/>
          <a:lstStyle/>
          <a:p>
            <a:r>
              <a:rPr lang="fr-CH" dirty="0" err="1" smtClean="0"/>
              <a:t>Funktionsschema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457200" y="2132856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44" name="Titel 4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457200" y="304800"/>
            <a:ext cx="4690864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Erwartete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Resultate</a:t>
            </a:r>
            <a:r>
              <a:rPr lang="fr-CH" dirty="0">
                <a:latin typeface="Arial" charset="0"/>
              </a:rPr>
              <a:t> (</a:t>
            </a:r>
            <a:r>
              <a:rPr lang="fr-CH" dirty="0">
                <a:solidFill>
                  <a:srgbClr val="FF0000"/>
                </a:solidFill>
                <a:latin typeface="Arial" charset="0"/>
              </a:rPr>
              <a:t>D</a:t>
            </a:r>
            <a:r>
              <a:rPr lang="fr-CH" dirty="0">
                <a:latin typeface="Arial" charset="0"/>
              </a:rPr>
              <a:t>)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graphicFrame>
        <p:nvGraphicFramePr>
          <p:cNvPr id="3" name="Obje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82616971"/>
              </p:ext>
            </p:extLst>
          </p:nvPr>
        </p:nvGraphicFramePr>
        <p:xfrm>
          <a:off x="5004048" y="289569"/>
          <a:ext cx="3921205" cy="57198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882" name="Visio" r:id="rId8" imgW="7016594" imgH="10238577" progId="Visio.Drawing.11">
                  <p:embed/>
                </p:oleObj>
              </mc:Choice>
              <mc:Fallback>
                <p:oleObj name="Visio" r:id="rId8" imgW="7016594" imgH="10238577" progId="Visio.Drawing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004048" y="289569"/>
                        <a:ext cx="3921205" cy="5719819"/>
                      </a:xfrm>
                      <a:prstGeom prst="rect">
                        <a:avLst/>
                      </a:prstGeom>
                      <a:ln>
                        <a:solidFill>
                          <a:schemeClr val="tx1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44017717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5004048" y="971592"/>
            <a:ext cx="3695452" cy="3897567"/>
          </a:xfrm>
          <a:prstGeom prst="rect">
            <a:avLst/>
          </a:prstGeom>
          <a:solidFill>
            <a:srgbClr val="00B050">
              <a:alpha val="25098"/>
            </a:srgb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3" name="Rectangle 2"/>
          <p:cNvSpPr/>
          <p:nvPr/>
        </p:nvSpPr>
        <p:spPr>
          <a:xfrm>
            <a:off x="467544" y="980728"/>
            <a:ext cx="4032448" cy="2952328"/>
          </a:xfrm>
          <a:prstGeom prst="rect">
            <a:avLst/>
          </a:prstGeom>
          <a:solidFill>
            <a:srgbClr val="3399FF">
              <a:alpha val="25098"/>
            </a:srgb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2" name="Rectangle 11"/>
          <p:cNvSpPr/>
          <p:nvPr/>
        </p:nvSpPr>
        <p:spPr>
          <a:xfrm>
            <a:off x="469428" y="4293096"/>
            <a:ext cx="4030563" cy="1863824"/>
          </a:xfrm>
          <a:prstGeom prst="rect">
            <a:avLst/>
          </a:prstGeom>
          <a:solidFill>
            <a:srgbClr val="FF3300">
              <a:alpha val="25098"/>
            </a:srgbClr>
          </a:solidFill>
          <a:ln w="1905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CH" dirty="0" err="1" smtClean="0"/>
              <a:t>Komponenten</a:t>
            </a:r>
            <a:r>
              <a:rPr lang="fr-CH" dirty="0" smtClean="0"/>
              <a:t> der </a:t>
            </a:r>
            <a:r>
              <a:rPr lang="fr-CH" dirty="0" err="1" smtClean="0"/>
              <a:t>Wegleitung</a:t>
            </a:r>
            <a:endParaRPr lang="de-CH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32870" y="1052736"/>
            <a:ext cx="3405188" cy="307777"/>
          </a:xfrm>
        </p:spPr>
        <p:txBody>
          <a:bodyPr/>
          <a:lstStyle/>
          <a:p>
            <a:r>
              <a:rPr lang="de-CH" dirty="0" smtClean="0"/>
              <a:t>1. Ist-Zustand</a:t>
            </a:r>
            <a:endParaRPr lang="de-CH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532870" y="1370539"/>
            <a:ext cx="3405188" cy="1077218"/>
          </a:xfrm>
        </p:spPr>
        <p:txBody>
          <a:bodyPr/>
          <a:lstStyle/>
          <a:p>
            <a:pPr lvl="1"/>
            <a:r>
              <a:rPr lang="fr-CH" dirty="0" err="1" smtClean="0">
                <a:latin typeface="Arial" charset="0"/>
              </a:rPr>
              <a:t>organisatorisch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rechtlich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technisch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normativ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finanz-technisch</a:t>
            </a:r>
            <a:endParaRPr lang="fr-CH" dirty="0" smtClean="0">
              <a:latin typeface="Arial" charset="0"/>
            </a:endParaRP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532870" y="3160713"/>
            <a:ext cx="3405188" cy="692497"/>
          </a:xfrm>
        </p:spPr>
        <p:txBody>
          <a:bodyPr/>
          <a:lstStyle/>
          <a:p>
            <a:pPr lvl="1"/>
            <a:r>
              <a:rPr lang="fr-CH" dirty="0" err="1" smtClean="0">
                <a:latin typeface="Arial" charset="0"/>
              </a:rPr>
              <a:t>Wasserbedarf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Wasserbilanzen</a:t>
            </a:r>
            <a:endParaRPr lang="fr-CH" dirty="0" smtClean="0">
              <a:latin typeface="Arial" charset="0"/>
            </a:endParaRPr>
          </a:p>
        </p:txBody>
      </p:sp>
      <p:sp>
        <p:nvSpPr>
          <p:cNvPr id="17" name="Espace réservé du texte 2"/>
          <p:cNvSpPr>
            <a:spLocks noGrp="1"/>
          </p:cNvSpPr>
          <p:nvPr>
            <p:ph type="body" sz="quarter" idx="13"/>
          </p:nvPr>
        </p:nvSpPr>
        <p:spPr>
          <a:xfrm>
            <a:off x="5067300" y="1052736"/>
            <a:ext cx="3467100" cy="307975"/>
          </a:xfrm>
        </p:spPr>
        <p:txBody>
          <a:bodyPr/>
          <a:lstStyle/>
          <a:p>
            <a:r>
              <a:rPr lang="fr-CH" dirty="0" smtClean="0"/>
              <a:t>4. </a:t>
            </a:r>
            <a:r>
              <a:rPr lang="fr-CH" dirty="0" err="1" smtClean="0"/>
              <a:t>Resultate</a:t>
            </a:r>
            <a:endParaRPr lang="de-CH" dirty="0"/>
          </a:p>
        </p:txBody>
      </p:sp>
      <p:sp>
        <p:nvSpPr>
          <p:cNvPr id="18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32870" y="2852936"/>
            <a:ext cx="3405188" cy="307777"/>
          </a:xfrm>
        </p:spPr>
        <p:txBody>
          <a:bodyPr/>
          <a:lstStyle/>
          <a:p>
            <a:r>
              <a:rPr lang="de-CH" dirty="0" smtClean="0"/>
              <a:t>2. Bilanzen</a:t>
            </a:r>
            <a:endParaRPr lang="de-CH" dirty="0"/>
          </a:p>
        </p:txBody>
      </p:sp>
      <p:sp>
        <p:nvSpPr>
          <p:cNvPr id="19" name="Espace réservé du texte 7"/>
          <p:cNvSpPr>
            <a:spLocks noGrp="1"/>
          </p:cNvSpPr>
          <p:nvPr>
            <p:ph type="body" sz="quarter" idx="22"/>
          </p:nvPr>
        </p:nvSpPr>
        <p:spPr>
          <a:xfrm>
            <a:off x="5067300" y="1355948"/>
            <a:ext cx="3467100" cy="3231654"/>
          </a:xfrm>
        </p:spPr>
        <p:txBody>
          <a:bodyPr/>
          <a:lstStyle/>
          <a:p>
            <a:pPr lvl="1"/>
            <a:r>
              <a:rPr lang="fr-CH" dirty="0" err="1" smtClean="0">
                <a:latin typeface="Arial" charset="0"/>
              </a:rPr>
              <a:t>Fachbericht</a:t>
            </a:r>
            <a:r>
              <a:rPr lang="fr-CH" dirty="0" smtClean="0">
                <a:latin typeface="Arial" charset="0"/>
              </a:rPr>
              <a:t> mit </a:t>
            </a:r>
            <a:r>
              <a:rPr lang="fr-CH" dirty="0" err="1" smtClean="0">
                <a:latin typeface="Arial" charset="0"/>
              </a:rPr>
              <a:t>Kostenangaben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Übersichtsplan</a:t>
            </a:r>
            <a:r>
              <a:rPr lang="fr-CH" dirty="0" smtClean="0">
                <a:latin typeface="Arial" charset="0"/>
              </a:rPr>
              <a:t> (1:5’000)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Funktionsschema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Massnahmentabell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Finanzierungstabelle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Konzep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zur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ersorgung</a:t>
            </a:r>
            <a:r>
              <a:rPr lang="fr-CH" dirty="0" smtClean="0">
                <a:latin typeface="Arial" charset="0"/>
              </a:rPr>
              <a:t> in </a:t>
            </a:r>
            <a:r>
              <a:rPr lang="fr-CH" dirty="0" err="1" smtClean="0">
                <a:latin typeface="Arial" charset="0"/>
              </a:rPr>
              <a:t>Notlagen</a:t>
            </a:r>
            <a:r>
              <a:rPr lang="fr-CH" dirty="0" smtClean="0">
                <a:latin typeface="Arial" charset="0"/>
              </a:rPr>
              <a:t> (VTN)</a:t>
            </a:r>
            <a:endParaRPr lang="fr-CH" dirty="0">
              <a:latin typeface="Arial" charset="0"/>
            </a:endParaRPr>
          </a:p>
          <a:p>
            <a:endParaRPr lang="de-CH" dirty="0"/>
          </a:p>
        </p:txBody>
      </p:sp>
      <p:sp>
        <p:nvSpPr>
          <p:cNvPr id="9" name="Espace réservé du texte 6"/>
          <p:cNvSpPr>
            <a:spLocks noGrp="1"/>
          </p:cNvSpPr>
          <p:nvPr>
            <p:ph type="body" sz="quarter" idx="21"/>
          </p:nvPr>
        </p:nvSpPr>
        <p:spPr>
          <a:xfrm>
            <a:off x="529208" y="4708301"/>
            <a:ext cx="3898776" cy="1077218"/>
          </a:xfrm>
        </p:spPr>
        <p:txBody>
          <a:bodyPr/>
          <a:lstStyle/>
          <a:p>
            <a:pPr lvl="1"/>
            <a:r>
              <a:rPr lang="fr-CH" dirty="0" err="1" smtClean="0">
                <a:latin typeface="Arial" charset="0"/>
              </a:rPr>
              <a:t>zukünftige</a:t>
            </a:r>
            <a:r>
              <a:rPr lang="fr-CH" dirty="0" smtClean="0">
                <a:latin typeface="Arial" charset="0"/>
              </a:rPr>
              <a:t> Organisation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>
                <a:latin typeface="Arial" charset="0"/>
              </a:rPr>
              <a:t>t</a:t>
            </a:r>
            <a:r>
              <a:rPr lang="fr-CH" dirty="0" err="1" smtClean="0">
                <a:latin typeface="Arial" charset="0"/>
              </a:rPr>
              <a:t>echnische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Konzept</a:t>
            </a:r>
            <a:endParaRPr lang="fr-CH" dirty="0">
              <a:latin typeface="Arial" charset="0"/>
            </a:endParaRPr>
          </a:p>
          <a:p>
            <a:pPr lvl="1"/>
            <a:r>
              <a:rPr lang="fr-CH" dirty="0" err="1">
                <a:latin typeface="Arial" charset="0"/>
              </a:rPr>
              <a:t>zukünftige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Finanzierung</a:t>
            </a:r>
            <a:endParaRPr lang="de-CH" dirty="0"/>
          </a:p>
        </p:txBody>
      </p:sp>
      <p:sp>
        <p:nvSpPr>
          <p:cNvPr id="10" name="Espace réservé du texte 4"/>
          <p:cNvSpPr>
            <a:spLocks noGrp="1"/>
          </p:cNvSpPr>
          <p:nvPr>
            <p:ph type="body" sz="quarter" idx="19"/>
          </p:nvPr>
        </p:nvSpPr>
        <p:spPr>
          <a:xfrm>
            <a:off x="529208" y="4400524"/>
            <a:ext cx="3405188" cy="307777"/>
          </a:xfrm>
        </p:spPr>
        <p:txBody>
          <a:bodyPr/>
          <a:lstStyle/>
          <a:p>
            <a:r>
              <a:rPr lang="de-CH" dirty="0" smtClean="0"/>
              <a:t>3. Soll-Zustand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954929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7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5698976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Erwartete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Resultate</a:t>
            </a:r>
            <a:r>
              <a:rPr lang="fr-CH" dirty="0">
                <a:latin typeface="Arial" charset="0"/>
              </a:rPr>
              <a:t> (</a:t>
            </a:r>
            <a:r>
              <a:rPr lang="fr-CH" dirty="0">
                <a:solidFill>
                  <a:srgbClr val="FF0000"/>
                </a:solidFill>
                <a:latin typeface="Arial" charset="0"/>
              </a:rPr>
              <a:t>D</a:t>
            </a:r>
            <a:r>
              <a:rPr lang="fr-CH" dirty="0">
                <a:latin typeface="Arial" charset="0"/>
              </a:rPr>
              <a:t>)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 smtClean="0">
              <a:latin typeface="Arial" charset="0"/>
            </a:endParaRP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smtClean="0"/>
              <a:t>VTN-</a:t>
            </a:r>
            <a:r>
              <a:rPr lang="fr-CH" dirty="0" err="1" smtClean="0"/>
              <a:t>Versorgungskonzept</a:t>
            </a:r>
            <a:r>
              <a:rPr lang="fr-CH" dirty="0" smtClean="0"/>
              <a:t>: </a:t>
            </a:r>
            <a:r>
              <a:rPr lang="fr-CH" dirty="0" err="1" smtClean="0"/>
              <a:t>Pläne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Inventare</a:t>
            </a:r>
            <a:endParaRPr lang="fr-CH" dirty="0" smtClean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2132856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7" name="ZoneTexte 6"/>
          <p:cNvSpPr txBox="1"/>
          <p:nvPr/>
        </p:nvSpPr>
        <p:spPr>
          <a:xfrm>
            <a:off x="457200" y="2348880"/>
            <a:ext cx="6491064" cy="32624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09838" indent="-2509838" algn="l"/>
            <a:r>
              <a:rPr lang="fr-CH" b="1" dirty="0" err="1" smtClean="0"/>
              <a:t>Interventionspläne</a:t>
            </a:r>
            <a:r>
              <a:rPr lang="fr-CH" b="1" dirty="0" smtClean="0"/>
              <a:t>: </a:t>
            </a:r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Erarbeitung</a:t>
            </a:r>
            <a:r>
              <a:rPr lang="fr-CH" dirty="0" smtClean="0"/>
              <a:t> der </a:t>
            </a:r>
            <a:r>
              <a:rPr lang="fr-CH" dirty="0" err="1" smtClean="0"/>
              <a:t>Notmassnahmen</a:t>
            </a:r>
            <a:endParaRPr lang="fr-CH" dirty="0" smtClean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Zuteilung</a:t>
            </a:r>
            <a:r>
              <a:rPr lang="fr-CH" dirty="0" smtClean="0"/>
              <a:t> der </a:t>
            </a:r>
            <a:r>
              <a:rPr lang="fr-CH" dirty="0" err="1" smtClean="0"/>
              <a:t>Verantwortungen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Aufgaben</a:t>
            </a:r>
            <a:endParaRPr lang="fr-CH" dirty="0" smtClean="0"/>
          </a:p>
          <a:p>
            <a:pPr algn="l"/>
            <a:endParaRPr lang="fr-CH" dirty="0" smtClean="0"/>
          </a:p>
          <a:p>
            <a:pPr algn="l"/>
            <a:r>
              <a:rPr lang="fr-CH" b="1" dirty="0" err="1" smtClean="0"/>
              <a:t>Bestandesaufnahmen</a:t>
            </a:r>
            <a:r>
              <a:rPr lang="fr-CH" b="1" dirty="0" smtClean="0"/>
              <a:t>: </a:t>
            </a:r>
            <a:endParaRPr lang="fr-CH" b="1" dirty="0"/>
          </a:p>
          <a:p>
            <a:pPr marL="363538" indent="-363538" algn="l">
              <a:buFont typeface="Arial" panose="020B0604020202020204" pitchFamily="34" charset="0"/>
              <a:buChar char="•"/>
            </a:pPr>
            <a:r>
              <a:rPr lang="fr-CH" dirty="0" err="1" smtClean="0"/>
              <a:t>Logistik</a:t>
            </a:r>
            <a:r>
              <a:rPr lang="fr-CH" dirty="0" smtClean="0"/>
              <a:t>: </a:t>
            </a:r>
            <a:r>
              <a:rPr lang="fr-CH" dirty="0" err="1" smtClean="0"/>
              <a:t>bestehende</a:t>
            </a:r>
            <a:r>
              <a:rPr lang="fr-CH" dirty="0" smtClean="0"/>
              <a:t>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fehlende</a:t>
            </a:r>
            <a:r>
              <a:rPr lang="fr-CH" dirty="0" smtClean="0"/>
              <a:t> </a:t>
            </a:r>
            <a:r>
              <a:rPr lang="fr-CH" dirty="0" err="1" smtClean="0"/>
              <a:t>logistik</a:t>
            </a:r>
            <a:r>
              <a:rPr lang="fr-CH" dirty="0" smtClean="0"/>
              <a:t> </a:t>
            </a:r>
            <a:r>
              <a:rPr lang="fr-CH" dirty="0" err="1" smtClean="0"/>
              <a:t>zur</a:t>
            </a:r>
            <a:r>
              <a:rPr lang="fr-CH" dirty="0" smtClean="0"/>
              <a:t> </a:t>
            </a:r>
            <a:r>
              <a:rPr lang="fr-CH" dirty="0" err="1" smtClean="0"/>
              <a:t>Umsetzung</a:t>
            </a:r>
            <a:r>
              <a:rPr lang="fr-CH" dirty="0" smtClean="0"/>
              <a:t> der </a:t>
            </a:r>
            <a:r>
              <a:rPr lang="fr-CH" dirty="0" err="1" smtClean="0"/>
              <a:t>Massnahmen</a:t>
            </a:r>
            <a:r>
              <a:rPr lang="fr-CH" dirty="0" smtClean="0"/>
              <a:t>.</a:t>
            </a:r>
            <a:endParaRPr lang="fr-CH" dirty="0"/>
          </a:p>
          <a:p>
            <a:pPr algn="l"/>
            <a:endParaRPr lang="fr-CH" dirty="0"/>
          </a:p>
          <a:p>
            <a:pPr algn="l"/>
            <a:endParaRPr lang="fr-CH" dirty="0"/>
          </a:p>
          <a:p>
            <a:r>
              <a:rPr lang="fr-CH" sz="1600" dirty="0"/>
              <a:t/>
            </a:r>
            <a:br>
              <a:rPr lang="fr-CH" sz="1600" dirty="0"/>
            </a:br>
            <a:endParaRPr lang="de-CH" sz="1600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3480365493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1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 smtClean="0">
                <a:latin typeface="Arial" charset="0"/>
              </a:rPr>
              <a:t>Koordination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smtClean="0"/>
              <a:t>Teil – PTWI: </a:t>
            </a:r>
            <a:r>
              <a:rPr lang="fr-CH" dirty="0" err="1" smtClean="0"/>
              <a:t>Teile</a:t>
            </a:r>
            <a:r>
              <a:rPr lang="fr-CH" dirty="0" smtClean="0"/>
              <a:t> des PTWI (P, T, S, L, </a:t>
            </a:r>
            <a:r>
              <a:rPr lang="fr-CH" dirty="0" err="1" smtClean="0"/>
              <a:t>Lö</a:t>
            </a:r>
            <a:r>
              <a:rPr lang="fr-CH" dirty="0" smtClean="0"/>
              <a:t>, F, </a:t>
            </a:r>
            <a:r>
              <a:rPr lang="fr-CH" dirty="0" err="1" smtClean="0"/>
              <a:t>Vtn</a:t>
            </a:r>
            <a:r>
              <a:rPr lang="fr-CH" dirty="0" smtClean="0"/>
              <a:t>)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grpSp>
        <p:nvGrpSpPr>
          <p:cNvPr id="97281" name="Groupe 97280"/>
          <p:cNvGrpSpPr/>
          <p:nvPr/>
        </p:nvGrpSpPr>
        <p:grpSpPr>
          <a:xfrm>
            <a:off x="233489" y="2263750"/>
            <a:ext cx="1476222" cy="1165250"/>
            <a:chOff x="233489" y="2263750"/>
            <a:chExt cx="1476222" cy="1165250"/>
          </a:xfrm>
        </p:grpSpPr>
        <p:cxnSp>
          <p:nvCxnSpPr>
            <p:cNvPr id="4" name="Connecteur en angle 3"/>
            <p:cNvCxnSpPr/>
            <p:nvPr/>
          </p:nvCxnSpPr>
          <p:spPr>
            <a:xfrm>
              <a:off x="935576" y="2744904"/>
              <a:ext cx="0" cy="684096"/>
            </a:xfrm>
            <a:prstGeom prst="straightConnector1">
              <a:avLst/>
            </a:prstGeom>
            <a:ln w="28575">
              <a:solidFill>
                <a:srgbClr val="3399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" name="Ellipse 1"/>
            <p:cNvSpPr/>
            <p:nvPr/>
          </p:nvSpPr>
          <p:spPr>
            <a:xfrm>
              <a:off x="755576" y="2564904"/>
              <a:ext cx="360000" cy="360000"/>
            </a:xfrm>
            <a:prstGeom prst="ellipse">
              <a:avLst/>
            </a:prstGeom>
            <a:solidFill>
              <a:srgbClr val="3399FF"/>
            </a:solidFill>
            <a:ln w="28575">
              <a:solidFill>
                <a:srgbClr val="3399FF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>
                <a:solidFill>
                  <a:srgbClr val="3399FF"/>
                </a:solidFill>
              </a:endParaRPr>
            </a:p>
          </p:txBody>
        </p:sp>
        <p:sp>
          <p:nvSpPr>
            <p:cNvPr id="48" name="ZoneTexte 47"/>
            <p:cNvSpPr txBox="1"/>
            <p:nvPr/>
          </p:nvSpPr>
          <p:spPr>
            <a:xfrm>
              <a:off x="233489" y="2263750"/>
              <a:ext cx="1476222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rgbClr val="3399FF"/>
                  </a:solidFill>
                </a:rPr>
                <a:t>P - T - F</a:t>
              </a:r>
              <a:endParaRPr lang="de-CH" sz="1800" b="1" dirty="0" err="1">
                <a:solidFill>
                  <a:srgbClr val="3399FF"/>
                </a:solidFill>
              </a:endParaRPr>
            </a:p>
          </p:txBody>
        </p:sp>
        <p:sp>
          <p:nvSpPr>
            <p:cNvPr id="61" name="ZoneTexte 60"/>
            <p:cNvSpPr txBox="1"/>
            <p:nvPr/>
          </p:nvSpPr>
          <p:spPr>
            <a:xfrm>
              <a:off x="509625" y="2623076"/>
              <a:ext cx="894023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chemeClr val="bg1"/>
                  </a:solidFill>
                </a:rPr>
                <a:t>A</a:t>
              </a:r>
              <a:endParaRPr lang="de-CH" sz="1800" b="1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97289" name="Groupe 97288"/>
          <p:cNvGrpSpPr/>
          <p:nvPr/>
        </p:nvGrpSpPr>
        <p:grpSpPr>
          <a:xfrm>
            <a:off x="611560" y="2996952"/>
            <a:ext cx="3955387" cy="1764874"/>
            <a:chOff x="611560" y="2996952"/>
            <a:chExt cx="3955387" cy="1764874"/>
          </a:xfrm>
        </p:grpSpPr>
        <p:grpSp>
          <p:nvGrpSpPr>
            <p:cNvPr id="9" name="Groupe 8"/>
            <p:cNvGrpSpPr/>
            <p:nvPr/>
          </p:nvGrpSpPr>
          <p:grpSpPr>
            <a:xfrm rot="5400000">
              <a:off x="1187624" y="2996952"/>
              <a:ext cx="360000" cy="864096"/>
              <a:chOff x="907976" y="2717304"/>
              <a:chExt cx="360000" cy="864096"/>
            </a:xfrm>
            <a:solidFill>
              <a:srgbClr val="FF5050"/>
            </a:solidFill>
          </p:grpSpPr>
          <p:cxnSp>
            <p:nvCxnSpPr>
              <p:cNvPr id="13" name="Connecteur en angle 3"/>
              <p:cNvCxnSpPr/>
              <p:nvPr/>
            </p:nvCxnSpPr>
            <p:spPr>
              <a:xfrm>
                <a:off x="1087976" y="2897304"/>
                <a:ext cx="0" cy="684096"/>
              </a:xfrm>
              <a:prstGeom prst="straightConnector1">
                <a:avLst/>
              </a:prstGeom>
              <a:grpFill/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4" name="Ellipse 13"/>
              <p:cNvSpPr/>
              <p:nvPr/>
            </p:nvSpPr>
            <p:spPr>
              <a:xfrm>
                <a:off x="907976" y="2717304"/>
                <a:ext cx="360000" cy="360000"/>
              </a:xfrm>
              <a:prstGeom prst="ellipse">
                <a:avLst/>
              </a:prstGeom>
              <a:grpFill/>
              <a:ln w="28575">
                <a:solidFill>
                  <a:srgbClr val="FF5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</p:grpSp>
        <p:grpSp>
          <p:nvGrpSpPr>
            <p:cNvPr id="97283" name="Groupe 97282"/>
            <p:cNvGrpSpPr/>
            <p:nvPr/>
          </p:nvGrpSpPr>
          <p:grpSpPr>
            <a:xfrm>
              <a:off x="611560" y="2996952"/>
              <a:ext cx="3955387" cy="1764874"/>
              <a:chOff x="611560" y="2996952"/>
              <a:chExt cx="3955387" cy="1764874"/>
            </a:xfrm>
          </p:grpSpPr>
          <p:cxnSp>
            <p:nvCxnSpPr>
              <p:cNvPr id="19" name="Connecteur en angle 3"/>
              <p:cNvCxnSpPr/>
              <p:nvPr/>
            </p:nvCxnSpPr>
            <p:spPr>
              <a:xfrm>
                <a:off x="1619672" y="3501008"/>
                <a:ext cx="0" cy="288032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necteur droit 10"/>
              <p:cNvCxnSpPr/>
              <p:nvPr/>
            </p:nvCxnSpPr>
            <p:spPr>
              <a:xfrm flipV="1">
                <a:off x="611560" y="2996952"/>
                <a:ext cx="720080" cy="792088"/>
              </a:xfrm>
              <a:prstGeom prst="line">
                <a:avLst/>
              </a:prstGeom>
              <a:ln w="6350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Connecteur en angle 3"/>
              <p:cNvCxnSpPr/>
              <p:nvPr/>
            </p:nvCxnSpPr>
            <p:spPr>
              <a:xfrm>
                <a:off x="1619672" y="3789040"/>
                <a:ext cx="2232248" cy="0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4" name="Connecteur en angle 3"/>
              <p:cNvCxnSpPr/>
              <p:nvPr/>
            </p:nvCxnSpPr>
            <p:spPr>
              <a:xfrm>
                <a:off x="1619672" y="3789040"/>
                <a:ext cx="0" cy="723621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5" name="Connecteur en angle 3"/>
              <p:cNvCxnSpPr/>
              <p:nvPr/>
            </p:nvCxnSpPr>
            <p:spPr>
              <a:xfrm>
                <a:off x="2771800" y="3789040"/>
                <a:ext cx="0" cy="684096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Connecteur en angle 3"/>
              <p:cNvCxnSpPr/>
              <p:nvPr/>
            </p:nvCxnSpPr>
            <p:spPr>
              <a:xfrm>
                <a:off x="3846504" y="3780367"/>
                <a:ext cx="0" cy="684096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Connecteur droit 40"/>
              <p:cNvCxnSpPr/>
              <p:nvPr/>
            </p:nvCxnSpPr>
            <p:spPr>
              <a:xfrm>
                <a:off x="1406469" y="4293096"/>
                <a:ext cx="448940" cy="468730"/>
              </a:xfrm>
              <a:prstGeom prst="line">
                <a:avLst/>
              </a:prstGeom>
              <a:ln w="6350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Connecteur droit 42"/>
              <p:cNvCxnSpPr/>
              <p:nvPr/>
            </p:nvCxnSpPr>
            <p:spPr>
              <a:xfrm>
                <a:off x="2472936" y="4464463"/>
                <a:ext cx="58689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Connecteur droit 51"/>
              <p:cNvCxnSpPr/>
              <p:nvPr/>
            </p:nvCxnSpPr>
            <p:spPr>
              <a:xfrm>
                <a:off x="3553056" y="4462943"/>
                <a:ext cx="586896" cy="0"/>
              </a:xfrm>
              <a:prstGeom prst="line">
                <a:avLst/>
              </a:prstGeom>
              <a:ln w="6350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ZoneTexte 53"/>
              <p:cNvSpPr txBox="1"/>
              <p:nvPr/>
            </p:nvSpPr>
            <p:spPr>
              <a:xfrm>
                <a:off x="1818601" y="3486197"/>
                <a:ext cx="1998696" cy="24365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ts val="1900"/>
                  </a:lnSpc>
                  <a:spcAft>
                    <a:spcPts val="600"/>
                  </a:spcAft>
                  <a:buClr>
                    <a:srgbClr val="074EA1"/>
                  </a:buClr>
                </a:pPr>
                <a:r>
                  <a:rPr lang="fr-CH" sz="1800" b="1" dirty="0" smtClean="0">
                    <a:solidFill>
                      <a:srgbClr val="FF3300"/>
                    </a:solidFill>
                  </a:rPr>
                  <a:t>P - T - S - </a:t>
                </a:r>
                <a:r>
                  <a:rPr lang="fr-CH" sz="1800" b="1" dirty="0" err="1" smtClean="0">
                    <a:solidFill>
                      <a:srgbClr val="FF3300"/>
                    </a:solidFill>
                  </a:rPr>
                  <a:t>Lö</a:t>
                </a:r>
                <a:r>
                  <a:rPr lang="fr-CH" sz="1800" b="1" dirty="0" smtClean="0">
                    <a:solidFill>
                      <a:srgbClr val="FF3300"/>
                    </a:solidFill>
                  </a:rPr>
                  <a:t> - F</a:t>
                </a:r>
                <a:endParaRPr lang="de-CH" sz="1800" b="1" dirty="0" err="1">
                  <a:solidFill>
                    <a:srgbClr val="FF3300"/>
                  </a:solidFill>
                </a:endParaRPr>
              </a:p>
            </p:txBody>
          </p:sp>
          <p:cxnSp>
            <p:nvCxnSpPr>
              <p:cNvPr id="58" name="Connecteur en angle 3"/>
              <p:cNvCxnSpPr/>
              <p:nvPr/>
            </p:nvCxnSpPr>
            <p:spPr>
              <a:xfrm>
                <a:off x="3846504" y="3789040"/>
                <a:ext cx="720443" cy="0"/>
              </a:xfrm>
              <a:prstGeom prst="straightConnector1">
                <a:avLst/>
              </a:prstGeom>
              <a:ln w="28575">
                <a:solidFill>
                  <a:srgbClr val="FF5050"/>
                </a:solidFill>
                <a:prstDash val="sysDash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2" name="ZoneTexte 61"/>
              <p:cNvSpPr txBox="1"/>
              <p:nvPr/>
            </p:nvSpPr>
            <p:spPr>
              <a:xfrm>
                <a:off x="1172660" y="3307172"/>
                <a:ext cx="894023" cy="24365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ts val="1900"/>
                  </a:lnSpc>
                  <a:spcAft>
                    <a:spcPts val="600"/>
                  </a:spcAft>
                  <a:buClr>
                    <a:srgbClr val="074EA1"/>
                  </a:buClr>
                </a:pPr>
                <a:r>
                  <a:rPr lang="fr-CH" sz="1800" b="1" dirty="0" smtClean="0">
                    <a:solidFill>
                      <a:schemeClr val="bg1"/>
                    </a:solidFill>
                  </a:rPr>
                  <a:t>B</a:t>
                </a:r>
                <a:endParaRPr lang="de-CH" sz="1800" b="1" dirty="0" err="1" smtClean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7284" name="Groupe 97283"/>
          <p:cNvGrpSpPr/>
          <p:nvPr/>
        </p:nvGrpSpPr>
        <p:grpSpPr>
          <a:xfrm>
            <a:off x="185979" y="4580968"/>
            <a:ext cx="1800200" cy="1190020"/>
            <a:chOff x="185979" y="4580968"/>
            <a:chExt cx="1800200" cy="1190020"/>
          </a:xfrm>
        </p:grpSpPr>
        <p:grpSp>
          <p:nvGrpSpPr>
            <p:cNvPr id="28" name="Groupe 27"/>
            <p:cNvGrpSpPr/>
            <p:nvPr/>
          </p:nvGrpSpPr>
          <p:grpSpPr>
            <a:xfrm rot="14091707">
              <a:off x="1097624" y="4328919"/>
              <a:ext cx="360000" cy="864097"/>
              <a:chOff x="907976" y="2717304"/>
              <a:chExt cx="360000" cy="864096"/>
            </a:xfrm>
            <a:solidFill>
              <a:srgbClr val="92D050"/>
            </a:solidFill>
          </p:grpSpPr>
          <p:cxnSp>
            <p:nvCxnSpPr>
              <p:cNvPr id="29" name="Connecteur en angle 3"/>
              <p:cNvCxnSpPr/>
              <p:nvPr/>
            </p:nvCxnSpPr>
            <p:spPr>
              <a:xfrm>
                <a:off x="1087976" y="2897304"/>
                <a:ext cx="0" cy="684096"/>
              </a:xfrm>
              <a:prstGeom prst="straightConnector1">
                <a:avLst/>
              </a:prstGeom>
              <a:grpFill/>
              <a:ln w="28575">
                <a:solidFill>
                  <a:srgbClr val="92D05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0" name="Ellipse 29"/>
              <p:cNvSpPr/>
              <p:nvPr/>
            </p:nvSpPr>
            <p:spPr>
              <a:xfrm>
                <a:off x="907976" y="2717304"/>
                <a:ext cx="360000" cy="360000"/>
              </a:xfrm>
              <a:prstGeom prst="ellipse">
                <a:avLst/>
              </a:prstGeom>
              <a:grpFill/>
              <a:ln w="28575">
                <a:solidFill>
                  <a:srgbClr val="92D05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</p:grpSp>
        <p:sp>
          <p:nvSpPr>
            <p:cNvPr id="55" name="ZoneTexte 54"/>
            <p:cNvSpPr txBox="1"/>
            <p:nvPr/>
          </p:nvSpPr>
          <p:spPr>
            <a:xfrm>
              <a:off x="185979" y="5206731"/>
              <a:ext cx="1800200" cy="56425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rgbClr val="92D050"/>
                  </a:solidFill>
                </a:rPr>
                <a:t>P - T - S</a:t>
              </a:r>
            </a:p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rgbClr val="92D050"/>
                  </a:solidFill>
                </a:rPr>
                <a:t>L - </a:t>
              </a:r>
              <a:r>
                <a:rPr lang="fr-CH" sz="1800" b="1" dirty="0" err="1" smtClean="0">
                  <a:solidFill>
                    <a:srgbClr val="92D050"/>
                  </a:solidFill>
                </a:rPr>
                <a:t>Lö</a:t>
              </a:r>
              <a:r>
                <a:rPr lang="fr-CH" sz="1800" b="1" dirty="0" smtClean="0">
                  <a:solidFill>
                    <a:srgbClr val="92D050"/>
                  </a:solidFill>
                </a:rPr>
                <a:t> - F</a:t>
              </a:r>
              <a:endParaRPr lang="de-CH" sz="1800" b="1" dirty="0" err="1" smtClean="0">
                <a:solidFill>
                  <a:srgbClr val="92D050"/>
                </a:solidFill>
              </a:endParaRPr>
            </a:p>
          </p:txBody>
        </p:sp>
        <p:sp>
          <p:nvSpPr>
            <p:cNvPr id="63" name="ZoneTexte 62"/>
            <p:cNvSpPr txBox="1"/>
            <p:nvPr/>
          </p:nvSpPr>
          <p:spPr>
            <a:xfrm>
              <a:off x="625006" y="4784206"/>
              <a:ext cx="894023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chemeClr val="bg1"/>
                  </a:solidFill>
                </a:rPr>
                <a:t>C</a:t>
              </a:r>
              <a:endParaRPr lang="de-CH" sz="1800" b="1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97285" name="Groupe 97284"/>
          <p:cNvGrpSpPr/>
          <p:nvPr/>
        </p:nvGrpSpPr>
        <p:grpSpPr>
          <a:xfrm>
            <a:off x="1986179" y="4464463"/>
            <a:ext cx="1571241" cy="1559564"/>
            <a:chOff x="1986179" y="4464463"/>
            <a:chExt cx="1571241" cy="1559564"/>
          </a:xfrm>
        </p:grpSpPr>
        <p:grpSp>
          <p:nvGrpSpPr>
            <p:cNvPr id="38" name="Groupe 37"/>
            <p:cNvGrpSpPr/>
            <p:nvPr/>
          </p:nvGrpSpPr>
          <p:grpSpPr>
            <a:xfrm rot="10800000">
              <a:off x="2591800" y="4464463"/>
              <a:ext cx="360000" cy="864096"/>
              <a:chOff x="907976" y="2717304"/>
              <a:chExt cx="360000" cy="864096"/>
            </a:xfrm>
            <a:solidFill>
              <a:srgbClr val="7030A0"/>
            </a:solidFill>
          </p:grpSpPr>
          <p:cxnSp>
            <p:nvCxnSpPr>
              <p:cNvPr id="39" name="Connecteur en angle 3"/>
              <p:cNvCxnSpPr/>
              <p:nvPr/>
            </p:nvCxnSpPr>
            <p:spPr>
              <a:xfrm>
                <a:off x="1087976" y="2897304"/>
                <a:ext cx="0" cy="684096"/>
              </a:xfrm>
              <a:prstGeom prst="straightConnector1">
                <a:avLst/>
              </a:prstGeom>
              <a:grpFill/>
              <a:ln w="28575">
                <a:solidFill>
                  <a:srgbClr val="7030A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Ellipse 39"/>
              <p:cNvSpPr/>
              <p:nvPr/>
            </p:nvSpPr>
            <p:spPr>
              <a:xfrm>
                <a:off x="907976" y="2717304"/>
                <a:ext cx="360000" cy="360000"/>
              </a:xfrm>
              <a:prstGeom prst="ellipse">
                <a:avLst/>
              </a:prstGeom>
              <a:grpFill/>
              <a:ln w="28575">
                <a:solidFill>
                  <a:srgbClr val="7030A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</p:grpSp>
        <p:sp>
          <p:nvSpPr>
            <p:cNvPr id="56" name="ZoneTexte 55"/>
            <p:cNvSpPr txBox="1"/>
            <p:nvPr/>
          </p:nvSpPr>
          <p:spPr>
            <a:xfrm>
              <a:off x="1986179" y="5459770"/>
              <a:ext cx="1571241" cy="56425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rgbClr val="7030A0"/>
                  </a:solidFill>
                </a:rPr>
                <a:t>T - S - L </a:t>
              </a:r>
            </a:p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err="1" smtClean="0">
                  <a:solidFill>
                    <a:srgbClr val="7030A0"/>
                  </a:solidFill>
                </a:rPr>
                <a:t>Lö</a:t>
              </a:r>
              <a:r>
                <a:rPr lang="fr-CH" sz="1800" b="1" dirty="0" smtClean="0">
                  <a:solidFill>
                    <a:srgbClr val="7030A0"/>
                  </a:solidFill>
                </a:rPr>
                <a:t> - F- </a:t>
              </a:r>
              <a:endParaRPr lang="de-CH" sz="1800" b="1" dirty="0" err="1" smtClean="0">
                <a:solidFill>
                  <a:srgbClr val="7030A0"/>
                </a:solidFill>
              </a:endParaRPr>
            </a:p>
          </p:txBody>
        </p:sp>
        <p:sp>
          <p:nvSpPr>
            <p:cNvPr id="64" name="ZoneTexte 63"/>
            <p:cNvSpPr txBox="1"/>
            <p:nvPr/>
          </p:nvSpPr>
          <p:spPr>
            <a:xfrm>
              <a:off x="2324788" y="5026731"/>
              <a:ext cx="894023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chemeClr val="bg1"/>
                  </a:solidFill>
                </a:rPr>
                <a:t>D</a:t>
              </a:r>
              <a:endParaRPr lang="de-CH" sz="1800" b="1" dirty="0" err="1" smtClean="0">
                <a:solidFill>
                  <a:schemeClr val="bg1"/>
                </a:solidFill>
              </a:endParaRPr>
            </a:p>
          </p:txBody>
        </p:sp>
      </p:grpSp>
      <p:grpSp>
        <p:nvGrpSpPr>
          <p:cNvPr id="97290" name="Groupe 97289"/>
          <p:cNvGrpSpPr/>
          <p:nvPr/>
        </p:nvGrpSpPr>
        <p:grpSpPr>
          <a:xfrm>
            <a:off x="3527024" y="4564685"/>
            <a:ext cx="1571241" cy="885702"/>
            <a:chOff x="3527024" y="4564685"/>
            <a:chExt cx="1571241" cy="885702"/>
          </a:xfrm>
        </p:grpSpPr>
        <p:cxnSp>
          <p:nvCxnSpPr>
            <p:cNvPr id="72" name="Connecteur en angle 3"/>
            <p:cNvCxnSpPr/>
            <p:nvPr/>
          </p:nvCxnSpPr>
          <p:spPr>
            <a:xfrm flipH="1">
              <a:off x="4312643" y="4906034"/>
              <a:ext cx="630080" cy="0"/>
            </a:xfrm>
            <a:prstGeom prst="straightConnector1">
              <a:avLst/>
            </a:prstGeom>
            <a:solidFill>
              <a:srgbClr val="996633"/>
            </a:solidFill>
            <a:ln w="28575">
              <a:solidFill>
                <a:srgbClr val="996633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7286" name="Groupe 97285"/>
            <p:cNvGrpSpPr/>
            <p:nvPr/>
          </p:nvGrpSpPr>
          <p:grpSpPr>
            <a:xfrm>
              <a:off x="3527024" y="4564685"/>
              <a:ext cx="1571241" cy="885702"/>
              <a:chOff x="3527024" y="4564685"/>
              <a:chExt cx="1571241" cy="885702"/>
            </a:xfrm>
          </p:grpSpPr>
          <p:grpSp>
            <p:nvGrpSpPr>
              <p:cNvPr id="31" name="Groupe 30"/>
              <p:cNvGrpSpPr/>
              <p:nvPr/>
            </p:nvGrpSpPr>
            <p:grpSpPr>
              <a:xfrm rot="7945671">
                <a:off x="3959951" y="4330723"/>
                <a:ext cx="360000" cy="827924"/>
                <a:chOff x="891300" y="2737357"/>
                <a:chExt cx="360000" cy="827924"/>
              </a:xfrm>
              <a:solidFill>
                <a:srgbClr val="996633"/>
              </a:solidFill>
            </p:grpSpPr>
            <p:cxnSp>
              <p:nvCxnSpPr>
                <p:cNvPr id="32" name="Connecteur en angle 3"/>
                <p:cNvCxnSpPr/>
                <p:nvPr/>
              </p:nvCxnSpPr>
              <p:spPr>
                <a:xfrm>
                  <a:off x="1065281" y="2881185"/>
                  <a:ext cx="0" cy="684096"/>
                </a:xfrm>
                <a:prstGeom prst="straightConnector1">
                  <a:avLst/>
                </a:prstGeom>
                <a:grpFill/>
                <a:ln w="28575">
                  <a:solidFill>
                    <a:srgbClr val="996633"/>
                  </a:solidFill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3" name="Ellipse 32"/>
                <p:cNvSpPr/>
                <p:nvPr/>
              </p:nvSpPr>
              <p:spPr>
                <a:xfrm>
                  <a:off x="891300" y="2737357"/>
                  <a:ext cx="360000" cy="360000"/>
                </a:xfrm>
                <a:prstGeom prst="ellipse">
                  <a:avLst/>
                </a:prstGeom>
                <a:grpFill/>
                <a:ln w="28575">
                  <a:solidFill>
                    <a:srgbClr val="996633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de-CH"/>
                </a:p>
              </p:txBody>
            </p:sp>
          </p:grpSp>
          <p:sp>
            <p:nvSpPr>
              <p:cNvPr id="57" name="ZoneTexte 56"/>
              <p:cNvSpPr txBox="1"/>
              <p:nvPr/>
            </p:nvSpPr>
            <p:spPr>
              <a:xfrm>
                <a:off x="3527024" y="5206731"/>
                <a:ext cx="1571241" cy="24365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ts val="1900"/>
                  </a:lnSpc>
                  <a:spcAft>
                    <a:spcPts val="600"/>
                  </a:spcAft>
                  <a:buClr>
                    <a:srgbClr val="074EA1"/>
                  </a:buClr>
                </a:pPr>
                <a:r>
                  <a:rPr lang="fr-CH" sz="1800" b="1" dirty="0" smtClean="0">
                    <a:solidFill>
                      <a:srgbClr val="996633"/>
                    </a:solidFill>
                  </a:rPr>
                  <a:t>T - L - </a:t>
                </a:r>
                <a:r>
                  <a:rPr lang="fr-CH" sz="1800" b="1" dirty="0" err="1" smtClean="0">
                    <a:solidFill>
                      <a:srgbClr val="996633"/>
                    </a:solidFill>
                  </a:rPr>
                  <a:t>Lö</a:t>
                </a:r>
                <a:r>
                  <a:rPr lang="fr-CH" sz="1800" b="1" dirty="0" smtClean="0">
                    <a:solidFill>
                      <a:srgbClr val="996633"/>
                    </a:solidFill>
                  </a:rPr>
                  <a:t> - F </a:t>
                </a:r>
                <a:endParaRPr lang="de-CH" sz="1800" b="1" dirty="0" err="1" smtClean="0">
                  <a:solidFill>
                    <a:srgbClr val="996633"/>
                  </a:solidFill>
                </a:endParaRPr>
              </a:p>
            </p:txBody>
          </p:sp>
          <p:sp>
            <p:nvSpPr>
              <p:cNvPr id="65" name="ZoneTexte 64"/>
              <p:cNvSpPr txBox="1"/>
              <p:nvPr/>
            </p:nvSpPr>
            <p:spPr>
              <a:xfrm>
                <a:off x="3865632" y="4780702"/>
                <a:ext cx="894023" cy="24365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ts val="1900"/>
                  </a:lnSpc>
                  <a:spcAft>
                    <a:spcPts val="600"/>
                  </a:spcAft>
                  <a:buClr>
                    <a:srgbClr val="074EA1"/>
                  </a:buClr>
                </a:pPr>
                <a:r>
                  <a:rPr lang="fr-CH" sz="1800" b="1" dirty="0" smtClean="0">
                    <a:solidFill>
                      <a:schemeClr val="bg1"/>
                    </a:solidFill>
                  </a:rPr>
                  <a:t>E</a:t>
                </a:r>
                <a:endParaRPr lang="de-CH" sz="1800" b="1" dirty="0" err="1" smtClean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97288" name="Groupe 97287"/>
          <p:cNvGrpSpPr/>
          <p:nvPr/>
        </p:nvGrpSpPr>
        <p:grpSpPr>
          <a:xfrm>
            <a:off x="4942723" y="4615343"/>
            <a:ext cx="2437589" cy="533216"/>
            <a:chOff x="4942723" y="4615343"/>
            <a:chExt cx="2437589" cy="533216"/>
          </a:xfrm>
        </p:grpSpPr>
        <p:grpSp>
          <p:nvGrpSpPr>
            <p:cNvPr id="97287" name="Groupe 97286"/>
            <p:cNvGrpSpPr/>
            <p:nvPr/>
          </p:nvGrpSpPr>
          <p:grpSpPr>
            <a:xfrm>
              <a:off x="4942723" y="4615343"/>
              <a:ext cx="2437589" cy="533216"/>
              <a:chOff x="4942723" y="4615343"/>
              <a:chExt cx="2437589" cy="533216"/>
            </a:xfrm>
          </p:grpSpPr>
          <p:cxnSp>
            <p:nvCxnSpPr>
              <p:cNvPr id="67" name="Connecteur en angle 3"/>
              <p:cNvCxnSpPr/>
              <p:nvPr/>
            </p:nvCxnSpPr>
            <p:spPr>
              <a:xfrm flipH="1">
                <a:off x="4942723" y="4906034"/>
                <a:ext cx="630080" cy="0"/>
              </a:xfrm>
              <a:prstGeom prst="straightConnector1">
                <a:avLst/>
              </a:prstGeom>
              <a:solidFill>
                <a:srgbClr val="996633"/>
              </a:solidFill>
              <a:ln w="28575">
                <a:solidFill>
                  <a:srgbClr val="FF66FF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68" name="Ellipse 67"/>
              <p:cNvSpPr/>
              <p:nvPr/>
            </p:nvSpPr>
            <p:spPr>
              <a:xfrm rot="5400000">
                <a:off x="5392803" y="4722530"/>
                <a:ext cx="360000" cy="360000"/>
              </a:xfrm>
              <a:prstGeom prst="ellipse">
                <a:avLst/>
              </a:prstGeom>
              <a:solidFill>
                <a:srgbClr val="FF66FF"/>
              </a:solidFill>
              <a:ln w="28575">
                <a:solidFill>
                  <a:srgbClr val="FF66FF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CH"/>
              </a:p>
            </p:txBody>
          </p:sp>
          <p:cxnSp>
            <p:nvCxnSpPr>
              <p:cNvPr id="73" name="Connecteur droit 72"/>
              <p:cNvCxnSpPr/>
              <p:nvPr/>
            </p:nvCxnSpPr>
            <p:spPr>
              <a:xfrm flipV="1">
                <a:off x="4942723" y="4615343"/>
                <a:ext cx="0" cy="533216"/>
              </a:xfrm>
              <a:prstGeom prst="line">
                <a:avLst/>
              </a:prstGeom>
              <a:ln w="6350">
                <a:solidFill>
                  <a:schemeClr val="tx1"/>
                </a:solidFill>
                <a:prstDash val="sysDot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6" name="ZoneTexte 75"/>
              <p:cNvSpPr txBox="1"/>
              <p:nvPr/>
            </p:nvSpPr>
            <p:spPr>
              <a:xfrm>
                <a:off x="5809071" y="4780702"/>
                <a:ext cx="1571241" cy="243656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lnSpc>
                    <a:spcPts val="1900"/>
                  </a:lnSpc>
                  <a:spcAft>
                    <a:spcPts val="600"/>
                  </a:spcAft>
                  <a:buClr>
                    <a:srgbClr val="074EA1"/>
                  </a:buClr>
                </a:pPr>
                <a:r>
                  <a:rPr lang="fr-CH" sz="1800" b="1" dirty="0" smtClean="0">
                    <a:solidFill>
                      <a:srgbClr val="FF66FF"/>
                    </a:solidFill>
                  </a:rPr>
                  <a:t>T - L - </a:t>
                </a:r>
                <a:r>
                  <a:rPr lang="fr-CH" sz="1800" b="1" dirty="0" err="1" smtClean="0">
                    <a:solidFill>
                      <a:srgbClr val="FF66FF"/>
                    </a:solidFill>
                  </a:rPr>
                  <a:t>Lö</a:t>
                </a:r>
                <a:r>
                  <a:rPr lang="fr-CH" sz="1800" b="1" dirty="0" smtClean="0">
                    <a:solidFill>
                      <a:srgbClr val="FF66FF"/>
                    </a:solidFill>
                  </a:rPr>
                  <a:t> - F</a:t>
                </a:r>
                <a:endParaRPr lang="de-CH" sz="1800" b="1" dirty="0" err="1" smtClean="0">
                  <a:solidFill>
                    <a:srgbClr val="FF66FF"/>
                  </a:solidFill>
                </a:endParaRPr>
              </a:p>
            </p:txBody>
          </p:sp>
        </p:grpSp>
        <p:sp>
          <p:nvSpPr>
            <p:cNvPr id="70" name="ZoneTexte 69"/>
            <p:cNvSpPr txBox="1"/>
            <p:nvPr/>
          </p:nvSpPr>
          <p:spPr>
            <a:xfrm>
              <a:off x="5125791" y="4784206"/>
              <a:ext cx="894023" cy="2436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lnSpc>
                  <a:spcPts val="1900"/>
                </a:lnSpc>
                <a:spcAft>
                  <a:spcPts val="600"/>
                </a:spcAft>
                <a:buClr>
                  <a:srgbClr val="074EA1"/>
                </a:buClr>
              </a:pPr>
              <a:r>
                <a:rPr lang="fr-CH" sz="1800" b="1" dirty="0" smtClean="0">
                  <a:solidFill>
                    <a:schemeClr val="bg1"/>
                  </a:solidFill>
                </a:rPr>
                <a:t>F</a:t>
              </a:r>
              <a:endParaRPr lang="de-CH" sz="1800" b="1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97308" name="Forme libre 97307"/>
          <p:cNvSpPr/>
          <p:nvPr/>
        </p:nvSpPr>
        <p:spPr>
          <a:xfrm>
            <a:off x="4427984" y="4344251"/>
            <a:ext cx="1008112" cy="378280"/>
          </a:xfrm>
          <a:custGeom>
            <a:avLst/>
            <a:gdLst>
              <a:gd name="connsiteX0" fmla="*/ 0 w 1254325"/>
              <a:gd name="connsiteY0" fmla="*/ 533683 h 533683"/>
              <a:gd name="connsiteX1" fmla="*/ 730840 w 1254325"/>
              <a:gd name="connsiteY1" fmla="*/ 0 h 533683"/>
              <a:gd name="connsiteX2" fmla="*/ 1254325 w 1254325"/>
              <a:gd name="connsiteY2" fmla="*/ 530284 h 5336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4325" h="533683">
                <a:moveTo>
                  <a:pt x="0" y="533683"/>
                </a:moveTo>
                <a:cubicBezTo>
                  <a:pt x="260893" y="267124"/>
                  <a:pt x="521786" y="566"/>
                  <a:pt x="730840" y="0"/>
                </a:cubicBezTo>
                <a:cubicBezTo>
                  <a:pt x="939894" y="-566"/>
                  <a:pt x="1155180" y="414709"/>
                  <a:pt x="1254325" y="530284"/>
                </a:cubicBezTo>
              </a:path>
            </a:pathLst>
          </a:custGeom>
          <a:noFill/>
          <a:ln w="12700">
            <a:solidFill>
              <a:schemeClr val="tx1"/>
            </a:solidFill>
            <a:head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110" name="Forme libre 109"/>
          <p:cNvSpPr/>
          <p:nvPr/>
        </p:nvSpPr>
        <p:spPr>
          <a:xfrm rot="937298">
            <a:off x="1823692" y="2455745"/>
            <a:ext cx="2813798" cy="1863526"/>
          </a:xfrm>
          <a:custGeom>
            <a:avLst/>
            <a:gdLst>
              <a:gd name="connsiteX0" fmla="*/ 0 w 1254325"/>
              <a:gd name="connsiteY0" fmla="*/ 533683 h 533683"/>
              <a:gd name="connsiteX1" fmla="*/ 730840 w 1254325"/>
              <a:gd name="connsiteY1" fmla="*/ 0 h 533683"/>
              <a:gd name="connsiteX2" fmla="*/ 1254325 w 1254325"/>
              <a:gd name="connsiteY2" fmla="*/ 530284 h 533683"/>
              <a:gd name="connsiteX0" fmla="*/ 0 w 1250559"/>
              <a:gd name="connsiteY0" fmla="*/ 351017 h 535285"/>
              <a:gd name="connsiteX1" fmla="*/ 727074 w 1250559"/>
              <a:gd name="connsiteY1" fmla="*/ 5001 h 535285"/>
              <a:gd name="connsiteX2" fmla="*/ 1250559 w 1250559"/>
              <a:gd name="connsiteY2" fmla="*/ 535285 h 535285"/>
              <a:gd name="connsiteX0" fmla="*/ 0 w 1254227"/>
              <a:gd name="connsiteY0" fmla="*/ 350831 h 530748"/>
              <a:gd name="connsiteX1" fmla="*/ 727074 w 1254227"/>
              <a:gd name="connsiteY1" fmla="*/ 4815 h 530748"/>
              <a:gd name="connsiteX2" fmla="*/ 1254227 w 1254227"/>
              <a:gd name="connsiteY2" fmla="*/ 530748 h 530748"/>
              <a:gd name="connsiteX0" fmla="*/ 0 w 1254227"/>
              <a:gd name="connsiteY0" fmla="*/ 350831 h 530748"/>
              <a:gd name="connsiteX1" fmla="*/ 727074 w 1254227"/>
              <a:gd name="connsiteY1" fmla="*/ 4815 h 530748"/>
              <a:gd name="connsiteX2" fmla="*/ 1254227 w 1254227"/>
              <a:gd name="connsiteY2" fmla="*/ 530748 h 530748"/>
              <a:gd name="connsiteX0" fmla="*/ 0 w 1252586"/>
              <a:gd name="connsiteY0" fmla="*/ 351806 h 554025"/>
              <a:gd name="connsiteX1" fmla="*/ 727074 w 1252586"/>
              <a:gd name="connsiteY1" fmla="*/ 5790 h 554025"/>
              <a:gd name="connsiteX2" fmla="*/ 1252586 w 1252586"/>
              <a:gd name="connsiteY2" fmla="*/ 554025 h 5540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52586" h="554025">
                <a:moveTo>
                  <a:pt x="0" y="351806"/>
                </a:moveTo>
                <a:cubicBezTo>
                  <a:pt x="260893" y="85247"/>
                  <a:pt x="518310" y="-27913"/>
                  <a:pt x="727074" y="5790"/>
                </a:cubicBezTo>
                <a:cubicBezTo>
                  <a:pt x="935838" y="39493"/>
                  <a:pt x="1175061" y="372091"/>
                  <a:pt x="1252586" y="554025"/>
                </a:cubicBezTo>
              </a:path>
            </a:pathLst>
          </a:custGeom>
          <a:noFill/>
          <a:ln w="12700">
            <a:solidFill>
              <a:schemeClr val="tx1"/>
            </a:solidFill>
            <a:head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sp>
        <p:nvSpPr>
          <p:cNvPr id="97309" name="ZoneTexte 97308"/>
          <p:cNvSpPr txBox="1"/>
          <p:nvPr/>
        </p:nvSpPr>
        <p:spPr>
          <a:xfrm>
            <a:off x="4967788" y="2718376"/>
            <a:ext cx="3996700" cy="11285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err="1" smtClean="0"/>
              <a:t>Wasserbedarf</a:t>
            </a:r>
            <a:r>
              <a:rPr lang="fr-CH" sz="1800" b="1" dirty="0" smtClean="0"/>
              <a:t> max. </a:t>
            </a:r>
            <a:r>
              <a:rPr lang="fr-CH" sz="1800" b="1" dirty="0" err="1" smtClean="0"/>
              <a:t>und</a:t>
            </a:r>
            <a:r>
              <a:rPr lang="fr-CH" sz="1800" b="1" dirty="0" smtClean="0"/>
              <a:t> </a:t>
            </a:r>
            <a:r>
              <a:rPr lang="fr-CH" sz="1800" b="1" dirty="0" err="1" smtClean="0"/>
              <a:t>mittel</a:t>
            </a:r>
            <a:r>
              <a:rPr lang="fr-CH" sz="1800" b="1" dirty="0" smtClean="0"/>
              <a:t> (m³/Tag - [l/min])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err="1" smtClean="0"/>
              <a:t>Löschwasserbedarf</a:t>
            </a:r>
            <a:r>
              <a:rPr lang="fr-CH" sz="1800" b="1" dirty="0" smtClean="0"/>
              <a:t> </a:t>
            </a:r>
            <a:r>
              <a:rPr lang="fr-CH" sz="1800" b="1" dirty="0"/>
              <a:t>(</a:t>
            </a:r>
            <a:r>
              <a:rPr lang="fr-CH" sz="1800" b="1" dirty="0" smtClean="0"/>
              <a:t>m³/Tag </a:t>
            </a:r>
            <a:r>
              <a:rPr lang="fr-CH" sz="1800" b="1" dirty="0"/>
              <a:t>- [l/min</a:t>
            </a:r>
            <a:r>
              <a:rPr lang="fr-CH" sz="1800" b="1" dirty="0" smtClean="0"/>
              <a:t>])</a:t>
            </a:r>
          </a:p>
          <a:p>
            <a:pPr algn="l"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sz="1800" b="1" dirty="0" smtClean="0">
                <a:solidFill>
                  <a:srgbClr val="FF0000"/>
                </a:solidFill>
              </a:rPr>
              <a:t>VTN</a:t>
            </a:r>
            <a:r>
              <a:rPr lang="fr-CH" sz="1800" b="1" dirty="0" smtClean="0"/>
              <a:t> ? </a:t>
            </a:r>
            <a:endParaRPr lang="de-CH" sz="1800" b="1" dirty="0" err="1" smtClean="0"/>
          </a:p>
        </p:txBody>
      </p:sp>
      <p:sp>
        <p:nvSpPr>
          <p:cNvPr id="112" name="Forme libre 111"/>
          <p:cNvSpPr/>
          <p:nvPr/>
        </p:nvSpPr>
        <p:spPr>
          <a:xfrm rot="937298">
            <a:off x="1115530" y="2713573"/>
            <a:ext cx="577413" cy="393296"/>
          </a:xfrm>
          <a:custGeom>
            <a:avLst/>
            <a:gdLst>
              <a:gd name="connsiteX0" fmla="*/ 0 w 1254325"/>
              <a:gd name="connsiteY0" fmla="*/ 533683 h 533683"/>
              <a:gd name="connsiteX1" fmla="*/ 730840 w 1254325"/>
              <a:gd name="connsiteY1" fmla="*/ 0 h 533683"/>
              <a:gd name="connsiteX2" fmla="*/ 1254325 w 1254325"/>
              <a:gd name="connsiteY2" fmla="*/ 530284 h 533683"/>
              <a:gd name="connsiteX0" fmla="*/ 0 w 1250559"/>
              <a:gd name="connsiteY0" fmla="*/ 351017 h 535285"/>
              <a:gd name="connsiteX1" fmla="*/ 727074 w 1250559"/>
              <a:gd name="connsiteY1" fmla="*/ 5001 h 535285"/>
              <a:gd name="connsiteX2" fmla="*/ 1250559 w 1250559"/>
              <a:gd name="connsiteY2" fmla="*/ 535285 h 535285"/>
              <a:gd name="connsiteX0" fmla="*/ 0 w 1254227"/>
              <a:gd name="connsiteY0" fmla="*/ 350831 h 530748"/>
              <a:gd name="connsiteX1" fmla="*/ 727074 w 1254227"/>
              <a:gd name="connsiteY1" fmla="*/ 4815 h 530748"/>
              <a:gd name="connsiteX2" fmla="*/ 1254227 w 1254227"/>
              <a:gd name="connsiteY2" fmla="*/ 530748 h 530748"/>
              <a:gd name="connsiteX0" fmla="*/ 0 w 1254227"/>
              <a:gd name="connsiteY0" fmla="*/ 350831 h 530748"/>
              <a:gd name="connsiteX1" fmla="*/ 727074 w 1254227"/>
              <a:gd name="connsiteY1" fmla="*/ 4815 h 530748"/>
              <a:gd name="connsiteX2" fmla="*/ 1254227 w 1254227"/>
              <a:gd name="connsiteY2" fmla="*/ 530748 h 530748"/>
              <a:gd name="connsiteX0" fmla="*/ 0 w 1252586"/>
              <a:gd name="connsiteY0" fmla="*/ 351806 h 554025"/>
              <a:gd name="connsiteX1" fmla="*/ 727074 w 1252586"/>
              <a:gd name="connsiteY1" fmla="*/ 5790 h 554025"/>
              <a:gd name="connsiteX2" fmla="*/ 1252586 w 1252586"/>
              <a:gd name="connsiteY2" fmla="*/ 554025 h 554025"/>
              <a:gd name="connsiteX0" fmla="*/ -1 w 2590258"/>
              <a:gd name="connsiteY0" fmla="*/ 149921 h 671203"/>
              <a:gd name="connsiteX1" fmla="*/ 2064746 w 2590258"/>
              <a:gd name="connsiteY1" fmla="*/ 122968 h 671203"/>
              <a:gd name="connsiteX2" fmla="*/ 2590258 w 2590258"/>
              <a:gd name="connsiteY2" fmla="*/ 671203 h 671203"/>
              <a:gd name="connsiteX0" fmla="*/ -1 w 2590258"/>
              <a:gd name="connsiteY0" fmla="*/ 71148 h 592430"/>
              <a:gd name="connsiteX1" fmla="*/ 2064746 w 2590258"/>
              <a:gd name="connsiteY1" fmla="*/ 44195 h 592430"/>
              <a:gd name="connsiteX2" fmla="*/ 2590258 w 2590258"/>
              <a:gd name="connsiteY2" fmla="*/ 592430 h 592430"/>
              <a:gd name="connsiteX0" fmla="*/ -1 w 2071681"/>
              <a:gd name="connsiteY0" fmla="*/ 46115 h 109514"/>
              <a:gd name="connsiteX1" fmla="*/ 2064746 w 2071681"/>
              <a:gd name="connsiteY1" fmla="*/ 19162 h 109514"/>
              <a:gd name="connsiteX2" fmla="*/ 732607 w 2071681"/>
              <a:gd name="connsiteY2" fmla="*/ 109514 h 109514"/>
              <a:gd name="connsiteX0" fmla="*/ -1 w 732606"/>
              <a:gd name="connsiteY0" fmla="*/ 164167 h 227566"/>
              <a:gd name="connsiteX1" fmla="*/ 382838 w 732606"/>
              <a:gd name="connsiteY1" fmla="*/ 660 h 227566"/>
              <a:gd name="connsiteX2" fmla="*/ 732607 w 732606"/>
              <a:gd name="connsiteY2" fmla="*/ 227566 h 227566"/>
              <a:gd name="connsiteX0" fmla="*/ 0 w 1415854"/>
              <a:gd name="connsiteY0" fmla="*/ 41438 h 253504"/>
              <a:gd name="connsiteX1" fmla="*/ 1066086 w 1415854"/>
              <a:gd name="connsiteY1" fmla="*/ 26598 h 253504"/>
              <a:gd name="connsiteX2" fmla="*/ 1415855 w 1415854"/>
              <a:gd name="connsiteY2" fmla="*/ 253504 h 253504"/>
              <a:gd name="connsiteX0" fmla="*/ 0 w 1415854"/>
              <a:gd name="connsiteY0" fmla="*/ 37435 h 249501"/>
              <a:gd name="connsiteX1" fmla="*/ 1145631 w 1415854"/>
              <a:gd name="connsiteY1" fmla="*/ 30467 h 249501"/>
              <a:gd name="connsiteX2" fmla="*/ 1415855 w 1415854"/>
              <a:gd name="connsiteY2" fmla="*/ 249501 h 249501"/>
              <a:gd name="connsiteX0" fmla="*/ 0 w 1415854"/>
              <a:gd name="connsiteY0" fmla="*/ 28250 h 240316"/>
              <a:gd name="connsiteX1" fmla="*/ 945190 w 1415854"/>
              <a:gd name="connsiteY1" fmla="*/ 44959 h 240316"/>
              <a:gd name="connsiteX2" fmla="*/ 1415855 w 1415854"/>
              <a:gd name="connsiteY2" fmla="*/ 240316 h 240316"/>
              <a:gd name="connsiteX0" fmla="*/ 0 w 1415854"/>
              <a:gd name="connsiteY0" fmla="*/ 28250 h 240316"/>
              <a:gd name="connsiteX1" fmla="*/ 945190 w 1415854"/>
              <a:gd name="connsiteY1" fmla="*/ 44959 h 240316"/>
              <a:gd name="connsiteX2" fmla="*/ 1415855 w 1415854"/>
              <a:gd name="connsiteY2" fmla="*/ 240316 h 240316"/>
              <a:gd name="connsiteX0" fmla="*/ 0 w 1415854"/>
              <a:gd name="connsiteY0" fmla="*/ 28250 h 240316"/>
              <a:gd name="connsiteX1" fmla="*/ 945190 w 1415854"/>
              <a:gd name="connsiteY1" fmla="*/ 44959 h 240316"/>
              <a:gd name="connsiteX2" fmla="*/ 1415855 w 1415854"/>
              <a:gd name="connsiteY2" fmla="*/ 240316 h 240316"/>
              <a:gd name="connsiteX0" fmla="*/ 0 w 1415854"/>
              <a:gd name="connsiteY0" fmla="*/ 39964 h 252030"/>
              <a:gd name="connsiteX1" fmla="*/ 956595 w 1415854"/>
              <a:gd name="connsiteY1" fmla="*/ 27907 h 252030"/>
              <a:gd name="connsiteX2" fmla="*/ 1415855 w 1415854"/>
              <a:gd name="connsiteY2" fmla="*/ 252030 h 252030"/>
              <a:gd name="connsiteX0" fmla="*/ 1 w 1459591"/>
              <a:gd name="connsiteY0" fmla="*/ 41234 h 250563"/>
              <a:gd name="connsiteX1" fmla="*/ 1000332 w 1459591"/>
              <a:gd name="connsiteY1" fmla="*/ 26440 h 250563"/>
              <a:gd name="connsiteX2" fmla="*/ 1459592 w 1459591"/>
              <a:gd name="connsiteY2" fmla="*/ 250563 h 250563"/>
              <a:gd name="connsiteX0" fmla="*/ 1 w 1433838"/>
              <a:gd name="connsiteY0" fmla="*/ 39285 h 218566"/>
              <a:gd name="connsiteX1" fmla="*/ 1000332 w 1433838"/>
              <a:gd name="connsiteY1" fmla="*/ 24491 h 218566"/>
              <a:gd name="connsiteX2" fmla="*/ 1433838 w 1433838"/>
              <a:gd name="connsiteY2" fmla="*/ 218566 h 218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33838" h="218566">
                <a:moveTo>
                  <a:pt x="1" y="39285"/>
                </a:moveTo>
                <a:cubicBezTo>
                  <a:pt x="742891" y="-15813"/>
                  <a:pt x="761359" y="-5389"/>
                  <a:pt x="1000332" y="24491"/>
                </a:cubicBezTo>
                <a:cubicBezTo>
                  <a:pt x="1239305" y="54371"/>
                  <a:pt x="1311506" y="112584"/>
                  <a:pt x="1433838" y="218566"/>
                </a:cubicBezTo>
              </a:path>
            </a:pathLst>
          </a:custGeom>
          <a:noFill/>
          <a:ln w="12700">
            <a:solidFill>
              <a:schemeClr val="tx1"/>
            </a:solidFill>
            <a:headEnd type="triangle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580190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2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3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7308" grpId="0" animBg="1"/>
      <p:bldP spid="110" grpId="0" animBg="1"/>
      <p:bldP spid="97309" grpId="0"/>
      <p:bldP spid="112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202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402832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Parallel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zum</a:t>
            </a:r>
            <a:r>
              <a:rPr lang="fr-CH" dirty="0" smtClean="0">
                <a:latin typeface="Arial" charset="0"/>
              </a:rPr>
              <a:t> PTWI…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186808" cy="307777"/>
          </a:xfrm>
        </p:spPr>
        <p:txBody>
          <a:bodyPr/>
          <a:lstStyle/>
          <a:p>
            <a:r>
              <a:rPr lang="fr-CH" dirty="0" smtClean="0"/>
              <a:t>GIS AquaFri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62148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789" b="20398"/>
          <a:stretch/>
        </p:blipFill>
        <p:spPr bwMode="auto">
          <a:xfrm>
            <a:off x="467544" y="1988840"/>
            <a:ext cx="8352928" cy="4192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251421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187" name="Picture 4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472" y="1350569"/>
            <a:ext cx="8352000" cy="48311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84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402832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Parallel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zum</a:t>
            </a:r>
            <a:r>
              <a:rPr lang="fr-CH" dirty="0">
                <a:latin typeface="Arial" charset="0"/>
              </a:rPr>
              <a:t> PTWI…</a:t>
            </a:r>
            <a:r>
              <a:rPr lang="fr-CH" dirty="0" smtClean="0">
                <a:latin typeface="Arial" charset="0"/>
              </a:rPr>
              <a:t/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Geographisches</a:t>
            </a:r>
            <a:r>
              <a:rPr lang="fr-CH" dirty="0" smtClean="0"/>
              <a:t> </a:t>
            </a:r>
            <a:r>
              <a:rPr lang="fr-CH" dirty="0" err="1" smtClean="0"/>
              <a:t>Informationssystem</a:t>
            </a:r>
            <a:r>
              <a:rPr lang="fr-CH" dirty="0" smtClean="0"/>
              <a:t> (GIS) AquaFri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62148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789" b="20398"/>
          <a:stretch/>
        </p:blipFill>
        <p:spPr bwMode="auto">
          <a:xfrm>
            <a:off x="467544" y="1988840"/>
            <a:ext cx="8352928" cy="4192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467544" y="4509120"/>
            <a:ext cx="8352928" cy="233397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Clr>
                <a:srgbClr val="074EA1"/>
              </a:buClr>
            </a:pPr>
            <a:endParaRPr lang="fr-CH" sz="500" dirty="0" smtClean="0">
              <a:latin typeface="+mj-lt"/>
              <a:cs typeface="Times New Roman" panose="02020603050405020304" pitchFamily="18" charset="0"/>
            </a:endParaRPr>
          </a:p>
          <a:p>
            <a:pPr marL="273050" lvl="1" indent="-271463" algn="l">
              <a:lnSpc>
                <a:spcPts val="1900"/>
              </a:lnSpc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</a:pPr>
            <a:r>
              <a:rPr lang="fr-CH" dirty="0" err="1" smtClean="0"/>
              <a:t>Inhalt</a:t>
            </a:r>
            <a:r>
              <a:rPr lang="fr-CH" dirty="0" smtClean="0"/>
              <a:t>: WV Atlas </a:t>
            </a:r>
            <a:r>
              <a:rPr lang="fr-CH" dirty="0"/>
              <a:t>+ </a:t>
            </a:r>
            <a:r>
              <a:rPr lang="fr-CH" dirty="0" smtClean="0"/>
              <a:t>AquaFri-</a:t>
            </a:r>
            <a:r>
              <a:rPr lang="fr-CH" dirty="0" err="1" smtClean="0"/>
              <a:t>Erweiterungen</a:t>
            </a:r>
            <a:r>
              <a:rPr lang="fr-CH" dirty="0" smtClean="0"/>
              <a:t> </a:t>
            </a:r>
            <a:r>
              <a:rPr lang="fr-CH" dirty="0"/>
              <a:t>&lt; </a:t>
            </a:r>
            <a:r>
              <a:rPr lang="fr-CH" dirty="0" smtClean="0"/>
              <a:t>normale </a:t>
            </a:r>
            <a:r>
              <a:rPr lang="fr-CH" dirty="0" err="1" smtClean="0"/>
              <a:t>technische</a:t>
            </a:r>
            <a:r>
              <a:rPr lang="fr-CH" dirty="0" smtClean="0"/>
              <a:t> </a:t>
            </a:r>
            <a:r>
              <a:rPr lang="fr-CH" dirty="0" err="1" smtClean="0"/>
              <a:t>Betrieb</a:t>
            </a:r>
            <a:r>
              <a:rPr lang="fr-CH" dirty="0" smtClean="0"/>
              <a:t> der Gemeinde</a:t>
            </a:r>
            <a:endParaRPr lang="fr-CH" dirty="0"/>
          </a:p>
          <a:p>
            <a:pPr marL="273050" lvl="1" indent="-271463" algn="l">
              <a:lnSpc>
                <a:spcPts val="1900"/>
              </a:lnSpc>
              <a:spcAft>
                <a:spcPts val="600"/>
              </a:spcAft>
              <a:buClr>
                <a:schemeClr val="tx1"/>
              </a:buClr>
              <a:buSzPct val="100000"/>
              <a:buFont typeface="Arial"/>
              <a:buChar char="&gt;"/>
            </a:pPr>
            <a:r>
              <a:rPr lang="fr-CH" dirty="0" err="1" smtClean="0"/>
              <a:t>Wegleitung</a:t>
            </a:r>
            <a:r>
              <a:rPr lang="fr-CH" dirty="0" smtClean="0"/>
              <a:t> </a:t>
            </a:r>
            <a:r>
              <a:rPr lang="fr-CH" dirty="0" err="1" smtClean="0"/>
              <a:t>zu</a:t>
            </a:r>
            <a:r>
              <a:rPr lang="fr-CH" dirty="0" smtClean="0"/>
              <a:t> </a:t>
            </a:r>
            <a:r>
              <a:rPr lang="fr-CH" dirty="0" err="1" smtClean="0"/>
              <a:t>Datentransfermodalitäten</a:t>
            </a:r>
            <a:r>
              <a:rPr lang="fr-CH" dirty="0" smtClean="0"/>
              <a:t> </a:t>
            </a:r>
            <a:r>
              <a:rPr lang="fr-CH" dirty="0" smtClean="0">
                <a:latin typeface="+mj-lt"/>
                <a:cs typeface="Times New Roman" panose="02020603050405020304" pitchFamily="18" charset="0"/>
              </a:rPr>
              <a:t>(</a:t>
            </a:r>
            <a:r>
              <a:rPr lang="fr-CH" dirty="0" err="1" smtClean="0">
                <a:latin typeface="+mj-lt"/>
                <a:cs typeface="Times New Roman" panose="02020603050405020304" pitchFamily="18" charset="0"/>
              </a:rPr>
              <a:t>verschiedene</a:t>
            </a:r>
            <a:r>
              <a:rPr lang="fr-CH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fr-CH" dirty="0" err="1" smtClean="0">
                <a:latin typeface="+mj-lt"/>
                <a:cs typeface="Times New Roman" panose="02020603050405020304" pitchFamily="18" charset="0"/>
              </a:rPr>
              <a:t>mögliche</a:t>
            </a:r>
            <a:r>
              <a:rPr lang="fr-CH" dirty="0" smtClean="0">
                <a:latin typeface="+mj-lt"/>
                <a:cs typeface="Times New Roman" panose="02020603050405020304" pitchFamily="18" charset="0"/>
              </a:rPr>
              <a:t> </a:t>
            </a:r>
            <a:r>
              <a:rPr lang="fr-CH" b="1" dirty="0" smtClean="0">
                <a:latin typeface="+mj-lt"/>
                <a:cs typeface="Times New Roman" panose="02020603050405020304" pitchFamily="18" charset="0"/>
              </a:rPr>
              <a:t>Formate</a:t>
            </a:r>
            <a:r>
              <a:rPr lang="fr-CH" dirty="0" smtClean="0">
                <a:latin typeface="+mj-lt"/>
                <a:cs typeface="Times New Roman" panose="02020603050405020304" pitchFamily="18" charset="0"/>
              </a:rPr>
              <a:t>):</a:t>
            </a:r>
          </a:p>
          <a:p>
            <a:pPr indent="542925" algn="l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</a:pPr>
            <a:r>
              <a:rPr lang="fr-CH" dirty="0" err="1" smtClean="0">
                <a:cs typeface="Times New Roman" panose="02020603050405020304" pitchFamily="18" charset="0"/>
              </a:rPr>
              <a:t>Vernehmlassung</a:t>
            </a:r>
            <a:r>
              <a:rPr lang="fr-CH" dirty="0" smtClean="0">
                <a:cs typeface="Times New Roman" panose="02020603050405020304" pitchFamily="18" charset="0"/>
              </a:rPr>
              <a:t> der </a:t>
            </a:r>
            <a:r>
              <a:rPr lang="fr-CH" dirty="0" err="1" smtClean="0">
                <a:cs typeface="Times New Roman" panose="02020603050405020304" pitchFamily="18" charset="0"/>
              </a:rPr>
              <a:t>Dienstleister</a:t>
            </a:r>
            <a:r>
              <a:rPr lang="fr-CH" dirty="0" smtClean="0">
                <a:cs typeface="Times New Roman" panose="02020603050405020304" pitchFamily="18" charset="0"/>
              </a:rPr>
              <a:t> (</a:t>
            </a:r>
            <a:r>
              <a:rPr lang="fr-CH" dirty="0" err="1" smtClean="0">
                <a:cs typeface="Times New Roman" panose="02020603050405020304" pitchFamily="18" charset="0"/>
              </a:rPr>
              <a:t>Geometer</a:t>
            </a:r>
            <a:r>
              <a:rPr lang="fr-CH" dirty="0" smtClean="0">
                <a:cs typeface="Times New Roman" panose="02020603050405020304" pitchFamily="18" charset="0"/>
              </a:rPr>
              <a:t>, </a:t>
            </a:r>
            <a:r>
              <a:rPr lang="fr-CH" dirty="0" err="1" smtClean="0">
                <a:cs typeface="Times New Roman" panose="02020603050405020304" pitchFamily="18" charset="0"/>
              </a:rPr>
              <a:t>Ingenieure</a:t>
            </a:r>
            <a:r>
              <a:rPr lang="fr-CH" dirty="0" smtClean="0">
                <a:cs typeface="Times New Roman" panose="02020603050405020304" pitchFamily="18" charset="0"/>
              </a:rPr>
              <a:t>): Nov. </a:t>
            </a:r>
            <a:r>
              <a:rPr lang="fr-CH" dirty="0">
                <a:cs typeface="Times New Roman" panose="02020603050405020304" pitchFamily="18" charset="0"/>
              </a:rPr>
              <a:t>2014</a:t>
            </a:r>
          </a:p>
          <a:p>
            <a:pPr indent="542925" algn="l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</a:pPr>
            <a:r>
              <a:rPr lang="fr-CH" dirty="0" err="1">
                <a:cs typeface="Times New Roman" panose="02020603050405020304" pitchFamily="18" charset="0"/>
              </a:rPr>
              <a:t>Vernehmlassung</a:t>
            </a:r>
            <a:r>
              <a:rPr lang="fr-CH" dirty="0">
                <a:cs typeface="Times New Roman" panose="02020603050405020304" pitchFamily="18" charset="0"/>
              </a:rPr>
              <a:t> </a:t>
            </a:r>
            <a:r>
              <a:rPr lang="fr-CH" dirty="0" smtClean="0">
                <a:cs typeface="Times New Roman" panose="02020603050405020304" pitchFamily="18" charset="0"/>
              </a:rPr>
              <a:t>der </a:t>
            </a:r>
            <a:r>
              <a:rPr lang="fr-CH" dirty="0" err="1" smtClean="0">
                <a:cs typeface="Times New Roman" panose="02020603050405020304" pitchFamily="18" charset="0"/>
              </a:rPr>
              <a:t>Gemeinden</a:t>
            </a:r>
            <a:r>
              <a:rPr lang="fr-CH" dirty="0" smtClean="0">
                <a:cs typeface="Times New Roman" panose="02020603050405020304" pitchFamily="18" charset="0"/>
              </a:rPr>
              <a:t>: </a:t>
            </a:r>
            <a:r>
              <a:rPr lang="fr-CH" dirty="0" err="1" smtClean="0">
                <a:cs typeface="Times New Roman" panose="02020603050405020304" pitchFamily="18" charset="0"/>
              </a:rPr>
              <a:t>Anfangs</a:t>
            </a:r>
            <a:r>
              <a:rPr lang="fr-CH" dirty="0" smtClean="0">
                <a:cs typeface="Times New Roman" panose="02020603050405020304" pitchFamily="18" charset="0"/>
              </a:rPr>
              <a:t> </a:t>
            </a:r>
            <a:r>
              <a:rPr lang="fr-CH" dirty="0">
                <a:cs typeface="Times New Roman" panose="02020603050405020304" pitchFamily="18" charset="0"/>
              </a:rPr>
              <a:t>2015</a:t>
            </a:r>
          </a:p>
          <a:p>
            <a:pPr algn="l">
              <a:lnSpc>
                <a:spcPts val="1900"/>
              </a:lnSpc>
              <a:spcBef>
                <a:spcPts val="300"/>
              </a:spcBef>
              <a:spcAft>
                <a:spcPts val="300"/>
              </a:spcAft>
              <a:buClr>
                <a:srgbClr val="074EA1"/>
              </a:buClr>
            </a:pPr>
            <a:endParaRPr lang="de-CH" sz="500" dirty="0" err="1" smtClean="0"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6372200" y="2012368"/>
            <a:ext cx="2448272" cy="243656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fr-CH" b="1" dirty="0" smtClean="0"/>
              <a:t>Der «</a:t>
            </a:r>
            <a:r>
              <a:rPr lang="fr-CH" b="1" dirty="0" err="1" smtClean="0"/>
              <a:t>alte</a:t>
            </a:r>
            <a:r>
              <a:rPr lang="fr-CH" b="1" dirty="0" smtClean="0"/>
              <a:t> Atlas»</a:t>
            </a:r>
            <a:endParaRPr lang="de-CH" b="1" dirty="0" err="1" smtClean="0"/>
          </a:p>
        </p:txBody>
      </p:sp>
    </p:spTree>
    <p:extLst>
      <p:ext uri="{BB962C8B-B14F-4D97-AF65-F5344CB8AC3E}">
        <p14:creationId xmlns:p14="http://schemas.microsoft.com/office/powerpoint/2010/main" val="1233166389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2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build="p"/>
      <p:bldP spid="2" grpId="0" animBg="1"/>
      <p:bldP spid="3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à coins arrondis 3"/>
          <p:cNvSpPr/>
          <p:nvPr/>
        </p:nvSpPr>
        <p:spPr>
          <a:xfrm>
            <a:off x="1187624" y="987511"/>
            <a:ext cx="2534400" cy="1641600"/>
          </a:xfrm>
          <a:prstGeom prst="round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l" defTabSz="1162050"/>
            <a:r>
              <a:rPr lang="fr-CH" dirty="0" smtClean="0">
                <a:solidFill>
                  <a:schemeClr val="bg1"/>
                </a:solidFill>
              </a:rPr>
              <a:t>- </a:t>
            </a:r>
            <a:r>
              <a:rPr lang="fr-CH" dirty="0" err="1" smtClean="0">
                <a:solidFill>
                  <a:schemeClr val="bg1"/>
                </a:solidFill>
              </a:rPr>
              <a:t>Rohwasserqualit</a:t>
            </a:r>
            <a:r>
              <a:rPr lang="fr-CH" dirty="0" smtClean="0">
                <a:solidFill>
                  <a:schemeClr val="bg1"/>
                </a:solidFill>
              </a:rPr>
              <a:t>.</a:t>
            </a:r>
            <a:endParaRPr lang="de-CH" dirty="0">
              <a:solidFill>
                <a:schemeClr val="bg1"/>
              </a:solidFill>
            </a:endParaRPr>
          </a:p>
          <a:p>
            <a:pPr lvl="0" algn="l" defTabSz="622300"/>
            <a:r>
              <a:rPr lang="fr-CH" dirty="0">
                <a:solidFill>
                  <a:schemeClr val="bg1"/>
                </a:solidFill>
              </a:rPr>
              <a:t>- </a:t>
            </a:r>
            <a:r>
              <a:rPr lang="fr-CH" dirty="0" err="1" smtClean="0">
                <a:solidFill>
                  <a:schemeClr val="bg1"/>
                </a:solidFill>
              </a:rPr>
              <a:t>eff</a:t>
            </a:r>
            <a:r>
              <a:rPr lang="fr-CH" dirty="0" smtClean="0">
                <a:solidFill>
                  <a:schemeClr val="bg1"/>
                </a:solidFill>
              </a:rPr>
              <a:t>. Schutz</a:t>
            </a:r>
          </a:p>
          <a:p>
            <a:pPr marL="176213" indent="-176213" algn="l" defTabSz="622300"/>
            <a:r>
              <a:rPr lang="fr-CH" dirty="0" smtClean="0">
                <a:solidFill>
                  <a:schemeClr val="bg1"/>
                </a:solidFill>
              </a:rPr>
              <a:t>- </a:t>
            </a:r>
            <a:r>
              <a:rPr lang="fr-CH" dirty="0" err="1" smtClean="0">
                <a:solidFill>
                  <a:schemeClr val="bg1"/>
                </a:solidFill>
              </a:rPr>
              <a:t>Aufbereit</a:t>
            </a:r>
            <a:r>
              <a:rPr lang="fr-CH" dirty="0" smtClean="0">
                <a:solidFill>
                  <a:schemeClr val="bg1"/>
                </a:solidFill>
              </a:rPr>
              <a:t>.</a:t>
            </a:r>
            <a:endParaRPr lang="de-CH" dirty="0">
              <a:solidFill>
                <a:schemeClr val="bg1"/>
              </a:solidFill>
            </a:endParaRPr>
          </a:p>
          <a:p>
            <a:pPr algn="ctr"/>
            <a:endParaRPr lang="de-CH" dirty="0"/>
          </a:p>
        </p:txBody>
      </p:sp>
      <p:sp>
        <p:nvSpPr>
          <p:cNvPr id="10" name="Rectangle à coins arrondis 9"/>
          <p:cNvSpPr/>
          <p:nvPr/>
        </p:nvSpPr>
        <p:spPr>
          <a:xfrm>
            <a:off x="5349968" y="980728"/>
            <a:ext cx="2534400" cy="1641600"/>
          </a:xfrm>
          <a:prstGeom prst="roundRect">
            <a:avLst/>
          </a:prstGeom>
          <a:solidFill>
            <a:srgbClr val="0066FF"/>
          </a:solidFill>
          <a:ln w="12700">
            <a:solidFill>
              <a:srgbClr val="0066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r" defTabSz="1162050"/>
            <a:r>
              <a:rPr lang="fr-CH" dirty="0">
                <a:solidFill>
                  <a:schemeClr val="bg1"/>
                </a:solidFill>
              </a:rPr>
              <a:t>- </a:t>
            </a:r>
            <a:r>
              <a:rPr lang="fr-CH" dirty="0" smtClean="0">
                <a:solidFill>
                  <a:schemeClr val="bg1"/>
                </a:solidFill>
              </a:rPr>
              <a:t>reg. </a:t>
            </a:r>
            <a:r>
              <a:rPr lang="fr-CH" dirty="0" err="1" smtClean="0">
                <a:solidFill>
                  <a:schemeClr val="bg1"/>
                </a:solidFill>
              </a:rPr>
              <a:t>Erneuerung</a:t>
            </a:r>
            <a:endParaRPr lang="de-CH" dirty="0">
              <a:solidFill>
                <a:schemeClr val="bg1"/>
              </a:solidFill>
            </a:endParaRPr>
          </a:p>
          <a:p>
            <a:pPr marL="342900" lvl="0" indent="-342900" algn="r" defTabSz="622300">
              <a:buFontTx/>
              <a:buChar char="-"/>
            </a:pPr>
            <a:r>
              <a:rPr lang="fr-CH" dirty="0" smtClean="0">
                <a:solidFill>
                  <a:schemeClr val="bg1"/>
                </a:solidFill>
              </a:rPr>
              <a:t>Stand der </a:t>
            </a:r>
            <a:r>
              <a:rPr lang="fr-CH" dirty="0" err="1" smtClean="0">
                <a:solidFill>
                  <a:schemeClr val="bg1"/>
                </a:solidFill>
              </a:rPr>
              <a:t>Technik</a:t>
            </a:r>
            <a:endParaRPr lang="fr-CH" dirty="0" smtClean="0">
              <a:solidFill>
                <a:schemeClr val="bg1"/>
              </a:solidFill>
            </a:endParaRPr>
          </a:p>
          <a:p>
            <a:pPr algn="r"/>
            <a:r>
              <a:rPr lang="fr-CH" dirty="0" smtClean="0">
                <a:solidFill>
                  <a:schemeClr val="bg1"/>
                </a:solidFill>
              </a:rPr>
              <a:t>- </a:t>
            </a:r>
            <a:r>
              <a:rPr lang="fr-CH" dirty="0" err="1" smtClean="0">
                <a:solidFill>
                  <a:schemeClr val="bg1"/>
                </a:solidFill>
              </a:rPr>
              <a:t>Vernünftige</a:t>
            </a:r>
            <a:r>
              <a:rPr lang="fr-CH" dirty="0" smtClean="0">
                <a:solidFill>
                  <a:schemeClr val="bg1"/>
                </a:solidFill>
              </a:rPr>
              <a:t> $</a:t>
            </a:r>
            <a:endParaRPr lang="de-CH" dirty="0">
              <a:solidFill>
                <a:schemeClr val="bg1"/>
              </a:solidFill>
            </a:endParaRPr>
          </a:p>
        </p:txBody>
      </p: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7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402832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Take</a:t>
            </a:r>
            <a:r>
              <a:rPr lang="fr-CH" dirty="0" smtClean="0">
                <a:latin typeface="Arial" charset="0"/>
              </a:rPr>
              <a:t>-home message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11" name="Rectangle à coins arrondis 10"/>
          <p:cNvSpPr/>
          <p:nvPr/>
        </p:nvSpPr>
        <p:spPr>
          <a:xfrm>
            <a:off x="5421976" y="4467472"/>
            <a:ext cx="2534400" cy="1641600"/>
          </a:xfrm>
          <a:prstGeom prst="roundRect">
            <a:avLst/>
          </a:prstGeom>
          <a:solidFill>
            <a:srgbClr val="FFFF00"/>
          </a:solidFill>
          <a:ln w="12700">
            <a:solidFill>
              <a:srgbClr val="FF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r" defTabSz="1162050"/>
            <a:endParaRPr lang="fr-CH" dirty="0" smtClean="0">
              <a:solidFill>
                <a:schemeClr val="tx1"/>
              </a:solidFill>
            </a:endParaRPr>
          </a:p>
          <a:p>
            <a:pPr lvl="0" algn="r" defTabSz="1162050"/>
            <a:r>
              <a:rPr lang="fr-CH" dirty="0">
                <a:solidFill>
                  <a:schemeClr val="tx1"/>
                </a:solidFill>
              </a:rPr>
              <a:t>- </a:t>
            </a:r>
            <a:r>
              <a:rPr lang="fr-CH" dirty="0" err="1" smtClean="0">
                <a:solidFill>
                  <a:schemeClr val="tx1"/>
                </a:solidFill>
              </a:rPr>
              <a:t>eff</a:t>
            </a:r>
            <a:r>
              <a:rPr lang="fr-CH" dirty="0" smtClean="0">
                <a:solidFill>
                  <a:schemeClr val="tx1"/>
                </a:solidFill>
              </a:rPr>
              <a:t>. </a:t>
            </a:r>
            <a:r>
              <a:rPr lang="fr-CH" dirty="0" err="1" smtClean="0">
                <a:solidFill>
                  <a:schemeClr val="tx1"/>
                </a:solidFill>
              </a:rPr>
              <a:t>Selbstkontrolle</a:t>
            </a:r>
            <a:endParaRPr lang="de-CH" dirty="0">
              <a:solidFill>
                <a:schemeClr val="tx1"/>
              </a:solidFill>
            </a:endParaRPr>
          </a:p>
          <a:p>
            <a:pPr lvl="0" algn="r" defTabSz="622300"/>
            <a:r>
              <a:rPr lang="fr-CH" dirty="0" smtClean="0">
                <a:solidFill>
                  <a:schemeClr val="tx1"/>
                </a:solidFill>
              </a:rPr>
              <a:t>- </a:t>
            </a:r>
            <a:r>
              <a:rPr lang="fr-CH" dirty="0" err="1" smtClean="0">
                <a:solidFill>
                  <a:schemeClr val="tx1"/>
                </a:solidFill>
              </a:rPr>
              <a:t>Leistungsfähige</a:t>
            </a:r>
            <a:r>
              <a:rPr lang="fr-CH" dirty="0" smtClean="0">
                <a:solidFill>
                  <a:schemeClr val="tx1"/>
                </a:solidFill>
              </a:rPr>
              <a:t> </a:t>
            </a:r>
            <a:r>
              <a:rPr lang="fr-CH" dirty="0" err="1" smtClean="0">
                <a:solidFill>
                  <a:schemeClr val="tx1"/>
                </a:solidFill>
              </a:rPr>
              <a:t>Werkzeuge</a:t>
            </a:r>
            <a:endParaRPr lang="fr-CH" dirty="0" smtClean="0">
              <a:solidFill>
                <a:schemeClr val="tx1"/>
              </a:solidFill>
            </a:endParaRPr>
          </a:p>
          <a:p>
            <a:pPr lvl="0" algn="r" defTabSz="622300"/>
            <a:endParaRPr lang="fr-CH" dirty="0" smtClean="0">
              <a:solidFill>
                <a:schemeClr val="tx1"/>
              </a:solidFill>
            </a:endParaRPr>
          </a:p>
          <a:p>
            <a:pPr lvl="0" algn="r" defTabSz="622300"/>
            <a:endParaRPr lang="de-CH" dirty="0">
              <a:solidFill>
                <a:schemeClr val="tx1"/>
              </a:solidFill>
            </a:endParaRPr>
          </a:p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sp>
        <p:nvSpPr>
          <p:cNvPr id="9" name="Rectangle à coins arrondis 8"/>
          <p:cNvSpPr/>
          <p:nvPr/>
        </p:nvSpPr>
        <p:spPr>
          <a:xfrm>
            <a:off x="993475" y="4467973"/>
            <a:ext cx="2534400" cy="1641600"/>
          </a:xfrm>
          <a:prstGeom prst="roundRect">
            <a:avLst/>
          </a:prstGeom>
          <a:solidFill>
            <a:srgbClr val="92D050"/>
          </a:solidFill>
          <a:ln w="12700"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 algn="r" defTabSz="1162050"/>
            <a:endParaRPr lang="fr-CH" dirty="0" smtClean="0">
              <a:solidFill>
                <a:schemeClr val="tx1"/>
              </a:solidFill>
            </a:endParaRPr>
          </a:p>
          <a:p>
            <a:pPr lvl="0" algn="l" defTabSz="1162050"/>
            <a:r>
              <a:rPr lang="fr-CH" dirty="0" smtClean="0">
                <a:solidFill>
                  <a:schemeClr val="tx1"/>
                </a:solidFill>
              </a:rPr>
              <a:t>- </a:t>
            </a:r>
            <a:r>
              <a:rPr lang="fr-CH" dirty="0" err="1" smtClean="0">
                <a:solidFill>
                  <a:schemeClr val="tx1"/>
                </a:solidFill>
              </a:rPr>
              <a:t>Planungszyklus</a:t>
            </a:r>
            <a:endParaRPr lang="fr-CH" dirty="0" smtClean="0">
              <a:solidFill>
                <a:schemeClr val="tx1"/>
              </a:solidFill>
            </a:endParaRPr>
          </a:p>
          <a:p>
            <a:pPr lvl="0" algn="l" defTabSz="1162050"/>
            <a:r>
              <a:rPr lang="fr-CH" dirty="0" smtClean="0">
                <a:solidFill>
                  <a:schemeClr val="tx1"/>
                </a:solidFill>
              </a:rPr>
              <a:t> (</a:t>
            </a:r>
            <a:r>
              <a:rPr lang="fr-CH" dirty="0" err="1" smtClean="0">
                <a:solidFill>
                  <a:schemeClr val="tx1"/>
                </a:solidFill>
              </a:rPr>
              <a:t>dynamisch</a:t>
            </a:r>
            <a:r>
              <a:rPr lang="fr-CH" dirty="0" smtClean="0">
                <a:solidFill>
                  <a:schemeClr val="tx1"/>
                </a:solidFill>
              </a:rPr>
              <a:t>)</a:t>
            </a:r>
          </a:p>
          <a:p>
            <a:pPr lvl="0" algn="l" defTabSz="1162050"/>
            <a:endParaRPr lang="fr-CH" dirty="0" smtClean="0">
              <a:solidFill>
                <a:schemeClr val="tx1"/>
              </a:solidFill>
            </a:endParaRPr>
          </a:p>
          <a:p>
            <a:pPr lvl="0" algn="r" defTabSz="622300"/>
            <a:endParaRPr lang="fr-CH" dirty="0" smtClean="0">
              <a:solidFill>
                <a:schemeClr val="tx1"/>
              </a:solidFill>
            </a:endParaRPr>
          </a:p>
          <a:p>
            <a:pPr lvl="0" algn="r" defTabSz="622300"/>
            <a:endParaRPr lang="de-CH" dirty="0">
              <a:solidFill>
                <a:schemeClr val="tx1"/>
              </a:solidFill>
            </a:endParaRPr>
          </a:p>
          <a:p>
            <a:pPr algn="ctr"/>
            <a:endParaRPr lang="de-CH" dirty="0">
              <a:solidFill>
                <a:schemeClr val="tx1"/>
              </a:solidFill>
            </a:endParaRPr>
          </a:p>
        </p:txBody>
      </p:sp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1509984560"/>
              </p:ext>
            </p:extLst>
          </p:nvPr>
        </p:nvGraphicFramePr>
        <p:xfrm>
          <a:off x="971600" y="980728"/>
          <a:ext cx="7080448" cy="51283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088146295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74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7283152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Wie</a:t>
            </a:r>
            <a:r>
              <a:rPr lang="fr-CH" dirty="0" smtClean="0">
                <a:latin typeface="Arial" charset="0"/>
              </a:rPr>
              <a:t> mit </a:t>
            </a:r>
            <a:r>
              <a:rPr lang="fr-CH" dirty="0" err="1" smtClean="0">
                <a:latin typeface="Arial" charset="0"/>
              </a:rPr>
              <a:t>dem</a:t>
            </a:r>
            <a:r>
              <a:rPr lang="fr-CH" dirty="0" smtClean="0">
                <a:latin typeface="Arial" charset="0"/>
              </a:rPr>
              <a:t> PTWI </a:t>
            </a:r>
            <a:r>
              <a:rPr lang="fr-CH" dirty="0" err="1" smtClean="0">
                <a:latin typeface="Arial" charset="0"/>
              </a:rPr>
              <a:t>beginnen</a:t>
            </a:r>
            <a:r>
              <a:rPr lang="fr-CH" dirty="0" smtClean="0">
                <a:latin typeface="Arial" charset="0"/>
              </a:rPr>
              <a:t> ? (</a:t>
            </a:r>
            <a:r>
              <a:rPr lang="fr-CH" dirty="0">
                <a:solidFill>
                  <a:srgbClr val="FF0000"/>
                </a:solidFill>
                <a:latin typeface="Arial" charset="0"/>
              </a:rPr>
              <a:t>§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2.3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8363272" cy="307777"/>
          </a:xfrm>
        </p:spPr>
        <p:txBody>
          <a:bodyPr/>
          <a:lstStyle/>
          <a:p>
            <a:r>
              <a:rPr lang="fr-CH" dirty="0" err="1" smtClean="0"/>
              <a:t>Vorhandene</a:t>
            </a:r>
            <a:r>
              <a:rPr lang="fr-CH" dirty="0" smtClean="0"/>
              <a:t> </a:t>
            </a:r>
            <a:r>
              <a:rPr lang="fr-CH" dirty="0" err="1" smtClean="0"/>
              <a:t>Grundlagen</a:t>
            </a:r>
            <a:r>
              <a:rPr lang="fr-CH" dirty="0" smtClean="0"/>
              <a:t> </a:t>
            </a:r>
            <a:r>
              <a:rPr lang="fr-CH" dirty="0" err="1" smtClean="0"/>
              <a:t>zusammenstelle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932040" y="2176115"/>
            <a:ext cx="3888432" cy="2693045"/>
          </a:xfrm>
        </p:spPr>
        <p:txBody>
          <a:bodyPr/>
          <a:lstStyle/>
          <a:p>
            <a:pPr marL="1587" lvl="1" indent="0">
              <a:spcAft>
                <a:spcPts val="0"/>
              </a:spcAft>
              <a:buNone/>
            </a:pPr>
            <a:r>
              <a:rPr lang="fr-CH" dirty="0" err="1" smtClean="0">
                <a:latin typeface="Arial" charset="0"/>
              </a:rPr>
              <a:t>Zusammenstell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und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klären</a:t>
            </a:r>
            <a:r>
              <a:rPr lang="fr-CH" dirty="0" smtClean="0">
                <a:latin typeface="Arial" charset="0"/>
              </a:rPr>
              <a:t>:</a:t>
            </a:r>
          </a:p>
          <a:p>
            <a:pPr marL="1587" lvl="1" indent="0">
              <a:spcAft>
                <a:spcPts val="0"/>
              </a:spcAft>
              <a:buNone/>
            </a:pP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Wa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existiert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wa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nich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vorhand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ist</a:t>
            </a:r>
            <a:endParaRPr lang="fr-CH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Wa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geschätz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werden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muss</a:t>
            </a:r>
            <a:endParaRPr lang="fr-CH" dirty="0" smtClean="0">
              <a:latin typeface="Arial" charset="0"/>
            </a:endParaRPr>
          </a:p>
          <a:p>
            <a:pPr marL="1587" lvl="1" indent="0">
              <a:buNone/>
            </a:pPr>
            <a:endParaRPr lang="fr-CH" dirty="0" smtClean="0">
              <a:latin typeface="Arial" charset="0"/>
            </a:endParaRPr>
          </a:p>
          <a:p>
            <a:pPr marL="1587" lvl="1" indent="0">
              <a:buNone/>
            </a:pPr>
            <a:r>
              <a:rPr lang="fr-CH" dirty="0" err="1" smtClean="0">
                <a:latin typeface="Arial" charset="0"/>
              </a:rPr>
              <a:t>Kann</a:t>
            </a:r>
            <a:r>
              <a:rPr lang="fr-CH" dirty="0" smtClean="0">
                <a:latin typeface="Arial" charset="0"/>
              </a:rPr>
              <a:t> vor </a:t>
            </a:r>
            <a:r>
              <a:rPr lang="fr-CH" dirty="0" err="1" smtClean="0">
                <a:latin typeface="Arial" charset="0"/>
              </a:rPr>
              <a:t>Offertstellung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für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das</a:t>
            </a:r>
            <a:r>
              <a:rPr lang="fr-CH" dirty="0" smtClean="0">
                <a:latin typeface="Arial" charset="0"/>
              </a:rPr>
              <a:t> PTWI </a:t>
            </a:r>
            <a:r>
              <a:rPr lang="fr-CH" dirty="0" err="1" smtClean="0">
                <a:latin typeface="Arial" charset="0"/>
              </a:rPr>
              <a:t>gemacht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werden</a:t>
            </a:r>
            <a:r>
              <a:rPr lang="fr-CH" dirty="0" smtClean="0">
                <a:latin typeface="Arial" charset="0"/>
              </a:rPr>
              <a:t>.</a:t>
            </a:r>
          </a:p>
        </p:txBody>
      </p:sp>
      <p:pic>
        <p:nvPicPr>
          <p:cNvPr id="238720" name="Picture 12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1988840"/>
            <a:ext cx="4402832" cy="4157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5898406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94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618856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Ist-Zustand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1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186808" cy="307777"/>
          </a:xfrm>
        </p:spPr>
        <p:txBody>
          <a:bodyPr/>
          <a:lstStyle/>
          <a:p>
            <a:r>
              <a:rPr lang="fr-CH" dirty="0" smtClean="0"/>
              <a:t>Organisation </a:t>
            </a:r>
            <a:r>
              <a:rPr lang="fr-CH" dirty="0" err="1" smtClean="0"/>
              <a:t>und</a:t>
            </a:r>
            <a:r>
              <a:rPr lang="fr-CH" dirty="0" smtClean="0"/>
              <a:t> </a:t>
            </a:r>
            <a:r>
              <a:rPr lang="fr-CH" dirty="0" err="1" smtClean="0"/>
              <a:t>Rechtliches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5940152" y="2015257"/>
            <a:ext cx="3024336" cy="4078039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b="1" dirty="0" err="1" smtClean="0">
                <a:latin typeface="Arial" charset="0"/>
              </a:rPr>
              <a:t>Landeigentum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err="1" smtClean="0">
                <a:latin typeface="Arial" charset="0"/>
              </a:rPr>
              <a:t>Fassungen</a:t>
            </a:r>
            <a:r>
              <a:rPr lang="fr-CH" dirty="0" smtClean="0">
                <a:latin typeface="Arial" charset="0"/>
              </a:rPr>
              <a:t>, S-</a:t>
            </a:r>
            <a:r>
              <a:rPr lang="fr-CH" dirty="0" err="1" smtClean="0">
                <a:latin typeface="Arial" charset="0"/>
              </a:rPr>
              <a:t>Zon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ander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wichtige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Anlagen</a:t>
            </a:r>
            <a:r>
              <a:rPr lang="fr-CH" dirty="0" smtClean="0">
                <a:latin typeface="Arial" charset="0"/>
              </a:rPr>
              <a:t>)</a:t>
            </a:r>
          </a:p>
          <a:p>
            <a:pPr lvl="1"/>
            <a:r>
              <a:rPr lang="fr-CH" b="1" dirty="0" err="1" smtClean="0">
                <a:latin typeface="Arial" charset="0"/>
              </a:rPr>
              <a:t>Reglemente</a:t>
            </a:r>
            <a:r>
              <a:rPr lang="fr-CH" b="1" dirty="0" smtClean="0">
                <a:latin typeface="Arial" charset="0"/>
              </a:rPr>
              <a:t>, </a:t>
            </a:r>
            <a:r>
              <a:rPr lang="fr-CH" b="1" dirty="0" err="1" smtClean="0">
                <a:latin typeface="Arial" charset="0"/>
              </a:rPr>
              <a:t>Verträge</a:t>
            </a:r>
            <a:r>
              <a:rPr lang="fr-CH" b="1" dirty="0" smtClean="0">
                <a:latin typeface="Arial" charset="0"/>
              </a:rPr>
              <a:t>, </a:t>
            </a:r>
            <a:r>
              <a:rPr lang="fr-CH" b="1" dirty="0" err="1" smtClean="0">
                <a:latin typeface="Arial" charset="0"/>
              </a:rPr>
              <a:t>Statuten</a:t>
            </a:r>
            <a:r>
              <a:rPr lang="fr-CH" dirty="0" smtClean="0">
                <a:latin typeface="Arial" charset="0"/>
              </a:rPr>
              <a:t>: </a:t>
            </a:r>
            <a:r>
              <a:rPr lang="fr-CH" dirty="0" err="1" smtClean="0">
                <a:latin typeface="Arial" charset="0"/>
              </a:rPr>
              <a:t>Verpflichtung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Fristen</a:t>
            </a:r>
            <a:r>
              <a:rPr lang="fr-CH" dirty="0" smtClean="0">
                <a:latin typeface="Arial" charset="0"/>
              </a:rPr>
              <a:t>, </a:t>
            </a:r>
            <a:r>
              <a:rPr lang="fr-CH" dirty="0" err="1" smtClean="0">
                <a:latin typeface="Arial" charset="0"/>
              </a:rPr>
              <a:t>usw</a:t>
            </a:r>
            <a:r>
              <a:rPr lang="fr-CH" dirty="0" smtClean="0">
                <a:latin typeface="Arial" charset="0"/>
              </a:rPr>
              <a:t>.</a:t>
            </a:r>
            <a:endParaRPr lang="fr-CH" dirty="0">
              <a:latin typeface="Arial" charset="0"/>
            </a:endParaRPr>
          </a:p>
          <a:p>
            <a:pPr lvl="1"/>
            <a:r>
              <a:rPr lang="fr-CH" b="1" dirty="0" err="1" smtClean="0">
                <a:latin typeface="Arial" charset="0"/>
              </a:rPr>
              <a:t>Regionale</a:t>
            </a:r>
            <a:r>
              <a:rPr lang="fr-CH" b="1" dirty="0" smtClean="0">
                <a:latin typeface="Arial" charset="0"/>
              </a:rPr>
              <a:t> </a:t>
            </a:r>
            <a:r>
              <a:rPr lang="fr-CH" b="1" dirty="0" err="1" smtClean="0">
                <a:latin typeface="Arial" charset="0"/>
              </a:rPr>
              <a:t>Aspekte</a:t>
            </a:r>
            <a:r>
              <a:rPr lang="fr-CH" dirty="0" smtClean="0">
                <a:latin typeface="Arial" charset="0"/>
              </a:rPr>
              <a:t>: </a:t>
            </a:r>
            <a:r>
              <a:rPr lang="fr-CH" dirty="0" err="1" smtClean="0">
                <a:latin typeface="Arial" charset="0"/>
              </a:rPr>
              <a:t>was</a:t>
            </a:r>
            <a:r>
              <a:rPr lang="fr-CH" dirty="0" smtClean="0">
                <a:latin typeface="Arial" charset="0"/>
              </a:rPr>
              <a:t> </a:t>
            </a:r>
            <a:r>
              <a:rPr lang="fr-CH" dirty="0" err="1" smtClean="0">
                <a:latin typeface="Arial" charset="0"/>
              </a:rPr>
              <a:t>planen</a:t>
            </a:r>
            <a:r>
              <a:rPr lang="fr-CH" dirty="0" smtClean="0">
                <a:latin typeface="Arial" charset="0"/>
              </a:rPr>
              <a:t> die </a:t>
            </a:r>
            <a:r>
              <a:rPr lang="fr-CH" dirty="0" err="1" smtClean="0">
                <a:latin typeface="Arial" charset="0"/>
              </a:rPr>
              <a:t>Nachbarn</a:t>
            </a:r>
            <a:r>
              <a:rPr lang="fr-CH" dirty="0" smtClean="0">
                <a:latin typeface="Arial" charset="0"/>
              </a:rPr>
              <a:t>?</a:t>
            </a:r>
            <a:endParaRPr lang="fr-CH" dirty="0">
              <a:latin typeface="Arial" charset="0"/>
            </a:endParaRPr>
          </a:p>
          <a:p>
            <a:pPr lvl="1"/>
            <a:endParaRPr lang="fr-CH" dirty="0" smtClean="0">
              <a:latin typeface="Arial" charset="0"/>
            </a:endParaRPr>
          </a:p>
        </p:txBody>
      </p:sp>
      <p:pic>
        <p:nvPicPr>
          <p:cNvPr id="275471" name="Picture 15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089225"/>
            <a:ext cx="5269571" cy="40760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2455373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Connecteur droit 11"/>
          <p:cNvCxnSpPr/>
          <p:nvPr/>
        </p:nvCxnSpPr>
        <p:spPr>
          <a:xfrm>
            <a:off x="891800" y="4005064"/>
            <a:ext cx="1632460" cy="0"/>
          </a:xfrm>
          <a:prstGeom prst="line">
            <a:avLst/>
          </a:prstGeom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38655" name="Picture 63" descr="C:\Users\Meienbergerg\Desktop\imagesCA6SSXGS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3076709"/>
            <a:ext cx="290513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63" descr="C:\Users\Meienbergerg\Desktop\imagesCA6SSXGS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1527" y="3081077"/>
            <a:ext cx="290513" cy="471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Groupe 5"/>
          <p:cNvGrpSpPr/>
          <p:nvPr/>
        </p:nvGrpSpPr>
        <p:grpSpPr>
          <a:xfrm>
            <a:off x="2524260" y="3356992"/>
            <a:ext cx="2191756" cy="648072"/>
            <a:chOff x="2524260" y="3356992"/>
            <a:chExt cx="2191756" cy="648072"/>
          </a:xfrm>
        </p:grpSpPr>
        <p:cxnSp>
          <p:nvCxnSpPr>
            <p:cNvPr id="24" name="Connecteur droit 23"/>
            <p:cNvCxnSpPr/>
            <p:nvPr/>
          </p:nvCxnSpPr>
          <p:spPr>
            <a:xfrm flipV="1">
              <a:off x="2524260" y="3356992"/>
              <a:ext cx="1831716" cy="648072"/>
            </a:xfrm>
            <a:prstGeom prst="line">
              <a:avLst/>
            </a:prstGeom>
            <a:ln w="38100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necteur droit 82"/>
            <p:cNvCxnSpPr/>
            <p:nvPr/>
          </p:nvCxnSpPr>
          <p:spPr>
            <a:xfrm>
              <a:off x="4355975" y="3356992"/>
              <a:ext cx="360041" cy="95602"/>
            </a:xfrm>
            <a:prstGeom prst="line">
              <a:avLst/>
            </a:prstGeom>
            <a:ln w="38100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e 6"/>
          <p:cNvGrpSpPr/>
          <p:nvPr/>
        </p:nvGrpSpPr>
        <p:grpSpPr>
          <a:xfrm>
            <a:off x="2498217" y="3356992"/>
            <a:ext cx="2217799" cy="648072"/>
            <a:chOff x="2498217" y="3356992"/>
            <a:chExt cx="2217799" cy="648072"/>
          </a:xfrm>
        </p:grpSpPr>
        <p:cxnSp>
          <p:nvCxnSpPr>
            <p:cNvPr id="31" name="Connecteur droit 30"/>
            <p:cNvCxnSpPr/>
            <p:nvPr/>
          </p:nvCxnSpPr>
          <p:spPr>
            <a:xfrm flipV="1">
              <a:off x="2498217" y="3356992"/>
              <a:ext cx="1831716" cy="648072"/>
            </a:xfrm>
            <a:prstGeom prst="line">
              <a:avLst/>
            </a:prstGeom>
            <a:ln w="38100">
              <a:solidFill>
                <a:srgbClr val="3399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Connecteur droit 31"/>
            <p:cNvCxnSpPr/>
            <p:nvPr/>
          </p:nvCxnSpPr>
          <p:spPr>
            <a:xfrm>
              <a:off x="4329932" y="3356992"/>
              <a:ext cx="386084" cy="95602"/>
            </a:xfrm>
            <a:prstGeom prst="line">
              <a:avLst/>
            </a:prstGeom>
            <a:ln w="38100">
              <a:solidFill>
                <a:srgbClr val="3399FF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9" name="Connecteur droit 28"/>
          <p:cNvCxnSpPr/>
          <p:nvPr/>
        </p:nvCxnSpPr>
        <p:spPr>
          <a:xfrm>
            <a:off x="865757" y="4005064"/>
            <a:ext cx="1632460" cy="0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29"/>
          <p:cNvCxnSpPr/>
          <p:nvPr/>
        </p:nvCxnSpPr>
        <p:spPr>
          <a:xfrm>
            <a:off x="1979712" y="4005064"/>
            <a:ext cx="0" cy="1008112"/>
          </a:xfrm>
          <a:prstGeom prst="line">
            <a:avLst/>
          </a:prstGeom>
          <a:ln w="28575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99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86808" cy="948978"/>
          </a:xfrm>
        </p:spPr>
        <p:txBody>
          <a:bodyPr/>
          <a:lstStyle/>
          <a:p>
            <a:r>
              <a:rPr lang="fr-CH" dirty="0" err="1" smtClean="0">
                <a:latin typeface="Arial" charset="0"/>
              </a:rPr>
              <a:t>Ist-Zustand</a:t>
            </a:r>
            <a:r>
              <a:rPr lang="fr-CH" dirty="0" smtClean="0">
                <a:latin typeface="Arial" charset="0"/>
              </a:rPr>
              <a:t> 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1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502429" cy="307777"/>
          </a:xfrm>
        </p:spPr>
        <p:txBody>
          <a:bodyPr/>
          <a:lstStyle/>
          <a:p>
            <a:r>
              <a:rPr lang="fr-CH" dirty="0" err="1"/>
              <a:t>Rechtliche</a:t>
            </a:r>
            <a:r>
              <a:rPr lang="fr-CH" dirty="0"/>
              <a:t> </a:t>
            </a:r>
            <a:r>
              <a:rPr lang="fr-CH" dirty="0" err="1" smtClean="0"/>
              <a:t>Unsicherheit</a:t>
            </a:r>
            <a:r>
              <a:rPr lang="fr-CH" dirty="0"/>
              <a:t>: </a:t>
            </a:r>
            <a:r>
              <a:rPr lang="fr-CH" dirty="0" err="1"/>
              <a:t>Beispiel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5796136" y="2217837"/>
            <a:ext cx="3024336" cy="1384995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>
                <a:latin typeface="Arial" charset="0"/>
              </a:rPr>
              <a:t>Welche </a:t>
            </a:r>
            <a:r>
              <a:rPr lang="fr-CH" b="1" dirty="0" err="1">
                <a:latin typeface="Arial" charset="0"/>
              </a:rPr>
              <a:t>Funktion</a:t>
            </a:r>
            <a:r>
              <a:rPr lang="fr-CH" dirty="0">
                <a:latin typeface="Arial" charset="0"/>
              </a:rPr>
              <a:t> </a:t>
            </a:r>
            <a:r>
              <a:rPr lang="fr-CH" dirty="0" err="1">
                <a:latin typeface="Arial" charset="0"/>
              </a:rPr>
              <a:t>hat</a:t>
            </a:r>
            <a:r>
              <a:rPr lang="fr-CH" dirty="0">
                <a:latin typeface="Arial" charset="0"/>
              </a:rPr>
              <a:t> die </a:t>
            </a:r>
            <a:r>
              <a:rPr lang="fr-CH" dirty="0" err="1">
                <a:latin typeface="Arial" charset="0"/>
              </a:rPr>
              <a:t>Leitung</a:t>
            </a:r>
            <a:r>
              <a:rPr lang="fr-CH" dirty="0">
                <a:latin typeface="Arial" charset="0"/>
              </a:rPr>
              <a:t>: </a:t>
            </a:r>
            <a:r>
              <a:rPr lang="fr-CH" dirty="0" err="1">
                <a:latin typeface="Arial" charset="0"/>
              </a:rPr>
              <a:t>Erschliessung</a:t>
            </a:r>
            <a:r>
              <a:rPr lang="fr-CH" dirty="0">
                <a:latin typeface="Arial" charset="0"/>
              </a:rPr>
              <a:t> gem</a:t>
            </a:r>
            <a:r>
              <a:rPr lang="de-CH" dirty="0" err="1">
                <a:latin typeface="Arial" charset="0"/>
              </a:rPr>
              <a:t>äss</a:t>
            </a:r>
            <a:r>
              <a:rPr lang="de-CH" dirty="0">
                <a:latin typeface="Arial" charset="0"/>
              </a:rPr>
              <a:t> </a:t>
            </a:r>
            <a:r>
              <a:rPr lang="fr-CH" dirty="0">
                <a:latin typeface="Arial" charset="0"/>
              </a:rPr>
              <a:t>RPBG ?</a:t>
            </a:r>
          </a:p>
        </p:txBody>
      </p:sp>
      <p:grpSp>
        <p:nvGrpSpPr>
          <p:cNvPr id="16" name="Groupe 15"/>
          <p:cNvGrpSpPr/>
          <p:nvPr/>
        </p:nvGrpSpPr>
        <p:grpSpPr>
          <a:xfrm>
            <a:off x="469370" y="2708920"/>
            <a:ext cx="422430" cy="2736304"/>
            <a:chOff x="1115616" y="2276872"/>
            <a:chExt cx="422430" cy="2736304"/>
          </a:xfrm>
        </p:grpSpPr>
        <p:cxnSp>
          <p:nvCxnSpPr>
            <p:cNvPr id="3" name="Connecteur droit 2"/>
            <p:cNvCxnSpPr/>
            <p:nvPr/>
          </p:nvCxnSpPr>
          <p:spPr>
            <a:xfrm>
              <a:off x="1115616" y="2276872"/>
              <a:ext cx="360040" cy="864096"/>
            </a:xfrm>
            <a:prstGeom prst="line">
              <a:avLst/>
            </a:prstGeom>
            <a:ln w="57150">
              <a:solidFill>
                <a:srgbClr val="0070C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Connecteur droit 9"/>
            <p:cNvCxnSpPr/>
            <p:nvPr/>
          </p:nvCxnSpPr>
          <p:spPr>
            <a:xfrm>
              <a:off x="1475656" y="3140968"/>
              <a:ext cx="62390" cy="432048"/>
            </a:xfrm>
            <a:prstGeom prst="line">
              <a:avLst/>
            </a:prstGeom>
            <a:ln w="57150">
              <a:solidFill>
                <a:srgbClr val="0070C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Connecteur droit 10"/>
            <p:cNvCxnSpPr/>
            <p:nvPr/>
          </p:nvCxnSpPr>
          <p:spPr>
            <a:xfrm flipV="1">
              <a:off x="1115616" y="3573016"/>
              <a:ext cx="422430" cy="1440160"/>
            </a:xfrm>
            <a:prstGeom prst="line">
              <a:avLst/>
            </a:prstGeom>
            <a:ln w="57150">
              <a:solidFill>
                <a:srgbClr val="0070C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ZoneTexte 7"/>
          <p:cNvSpPr txBox="1"/>
          <p:nvPr/>
        </p:nvSpPr>
        <p:spPr>
          <a:xfrm rot="4049221">
            <a:off x="433167" y="2999930"/>
            <a:ext cx="72008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>
                <a:solidFill>
                  <a:srgbClr val="0070C0"/>
                </a:solidFill>
              </a:rPr>
              <a:t>Ø 125</a:t>
            </a:r>
          </a:p>
        </p:txBody>
      </p:sp>
      <p:cxnSp>
        <p:nvCxnSpPr>
          <p:cNvPr id="38" name="Connecteur droit 37"/>
          <p:cNvCxnSpPr/>
          <p:nvPr/>
        </p:nvCxnSpPr>
        <p:spPr>
          <a:xfrm flipH="1" flipV="1">
            <a:off x="3347866" y="3717032"/>
            <a:ext cx="288030" cy="720080"/>
          </a:xfrm>
          <a:prstGeom prst="line">
            <a:avLst/>
          </a:prstGeom>
          <a:ln w="28575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Connecteur droit 48"/>
          <p:cNvCxnSpPr/>
          <p:nvPr/>
        </p:nvCxnSpPr>
        <p:spPr>
          <a:xfrm>
            <a:off x="2524260" y="3284984"/>
            <a:ext cx="247540" cy="648072"/>
          </a:xfrm>
          <a:prstGeom prst="line">
            <a:avLst/>
          </a:prstGeom>
          <a:ln w="28575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Connecteur droit 56"/>
          <p:cNvCxnSpPr/>
          <p:nvPr/>
        </p:nvCxnSpPr>
        <p:spPr>
          <a:xfrm flipH="1">
            <a:off x="4355976" y="2816932"/>
            <a:ext cx="288032" cy="540060"/>
          </a:xfrm>
          <a:prstGeom prst="line">
            <a:avLst/>
          </a:prstGeom>
          <a:ln w="28575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7283" name="Rectangle 97282"/>
          <p:cNvSpPr/>
          <p:nvPr/>
        </p:nvSpPr>
        <p:spPr>
          <a:xfrm>
            <a:off x="1979712" y="2924944"/>
            <a:ext cx="544548" cy="360040"/>
          </a:xfrm>
          <a:prstGeom prst="rect">
            <a:avLst/>
          </a:prstGeom>
          <a:solidFill>
            <a:srgbClr val="996633"/>
          </a:solidFill>
          <a:ln w="12700">
            <a:solidFill>
              <a:srgbClr val="9966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0" name="Rectangle 69"/>
          <p:cNvSpPr/>
          <p:nvPr/>
        </p:nvSpPr>
        <p:spPr>
          <a:xfrm>
            <a:off x="1545593" y="5013176"/>
            <a:ext cx="578135" cy="288032"/>
          </a:xfrm>
          <a:prstGeom prst="rect">
            <a:avLst/>
          </a:prstGeom>
          <a:solidFill>
            <a:srgbClr val="996633"/>
          </a:solidFill>
          <a:ln w="12700">
            <a:solidFill>
              <a:srgbClr val="9966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1" name="Rectangle 70"/>
          <p:cNvSpPr/>
          <p:nvPr/>
        </p:nvSpPr>
        <p:spPr>
          <a:xfrm rot="5400000">
            <a:off x="3416285" y="4510638"/>
            <a:ext cx="578135" cy="426943"/>
          </a:xfrm>
          <a:prstGeom prst="rect">
            <a:avLst/>
          </a:prstGeom>
          <a:solidFill>
            <a:srgbClr val="996633"/>
          </a:solidFill>
          <a:ln w="12700">
            <a:solidFill>
              <a:srgbClr val="9966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73" name="Rectangle 72"/>
          <p:cNvSpPr/>
          <p:nvPr/>
        </p:nvSpPr>
        <p:spPr>
          <a:xfrm>
            <a:off x="4236238" y="2528900"/>
            <a:ext cx="578135" cy="288032"/>
          </a:xfrm>
          <a:prstGeom prst="rect">
            <a:avLst/>
          </a:prstGeom>
          <a:solidFill>
            <a:srgbClr val="996633"/>
          </a:solidFill>
          <a:ln w="12700">
            <a:solidFill>
              <a:srgbClr val="9966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75" name="Connecteur droit 74"/>
          <p:cNvCxnSpPr/>
          <p:nvPr/>
        </p:nvCxnSpPr>
        <p:spPr>
          <a:xfrm>
            <a:off x="4355976" y="3356992"/>
            <a:ext cx="936104" cy="2088232"/>
          </a:xfrm>
          <a:prstGeom prst="line">
            <a:avLst/>
          </a:prstGeom>
          <a:ln w="28575">
            <a:solidFill>
              <a:srgbClr val="00B05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2" name="ZoneTexte 81"/>
          <p:cNvSpPr txBox="1"/>
          <p:nvPr/>
        </p:nvSpPr>
        <p:spPr>
          <a:xfrm rot="20376780">
            <a:off x="3433963" y="3283575"/>
            <a:ext cx="720080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00"/>
              </a:lnSpc>
              <a:spcAft>
                <a:spcPts val="600"/>
              </a:spcAft>
              <a:buClr>
                <a:srgbClr val="074EA1"/>
              </a:buClr>
            </a:pPr>
            <a:r>
              <a:rPr lang="de-CH" b="1" dirty="0" smtClean="0">
                <a:solidFill>
                  <a:srgbClr val="FF0000"/>
                </a:solidFill>
              </a:rPr>
              <a:t>Ø 80</a:t>
            </a:r>
          </a:p>
        </p:txBody>
      </p:sp>
      <p:sp>
        <p:nvSpPr>
          <p:cNvPr id="90" name="Rectangle 89"/>
          <p:cNvSpPr/>
          <p:nvPr/>
        </p:nvSpPr>
        <p:spPr>
          <a:xfrm rot="5400000">
            <a:off x="5648532" y="5068822"/>
            <a:ext cx="578135" cy="1291039"/>
          </a:xfrm>
          <a:prstGeom prst="rect">
            <a:avLst/>
          </a:prstGeom>
          <a:solidFill>
            <a:srgbClr val="996633"/>
          </a:solidFill>
          <a:ln w="12700">
            <a:solidFill>
              <a:srgbClr val="99663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" name="Rectangle 1"/>
          <p:cNvSpPr/>
          <p:nvPr/>
        </p:nvSpPr>
        <p:spPr>
          <a:xfrm>
            <a:off x="2428112" y="3924345"/>
            <a:ext cx="6873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CH" sz="3200" b="1" dirty="0">
                <a:solidFill>
                  <a:srgbClr val="FF0000"/>
                </a:solidFill>
              </a:rPr>
              <a:t>?</a:t>
            </a:r>
            <a:endParaRPr lang="de-CH" sz="3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1741081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6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" grpId="0"/>
      <p:bldP spid="2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Forme libre 50"/>
          <p:cNvSpPr/>
          <p:nvPr/>
        </p:nvSpPr>
        <p:spPr>
          <a:xfrm>
            <a:off x="2600324" y="2257425"/>
            <a:ext cx="3133725" cy="3810000"/>
          </a:xfrm>
          <a:custGeom>
            <a:avLst/>
            <a:gdLst>
              <a:gd name="connsiteX0" fmla="*/ 142875 w 3524250"/>
              <a:gd name="connsiteY0" fmla="*/ 76200 h 3952875"/>
              <a:gd name="connsiteX1" fmla="*/ 0 w 3524250"/>
              <a:gd name="connsiteY1" fmla="*/ 0 h 3952875"/>
              <a:gd name="connsiteX2" fmla="*/ 47625 w 3524250"/>
              <a:gd name="connsiteY2" fmla="*/ 95250 h 3952875"/>
              <a:gd name="connsiteX3" fmla="*/ 133350 w 3524250"/>
              <a:gd name="connsiteY3" fmla="*/ 200025 h 3952875"/>
              <a:gd name="connsiteX4" fmla="*/ 180975 w 3524250"/>
              <a:gd name="connsiteY4" fmla="*/ 257175 h 3952875"/>
              <a:gd name="connsiteX5" fmla="*/ 209550 w 3524250"/>
              <a:gd name="connsiteY5" fmla="*/ 295275 h 3952875"/>
              <a:gd name="connsiteX6" fmla="*/ 238125 w 3524250"/>
              <a:gd name="connsiteY6" fmla="*/ 323850 h 3952875"/>
              <a:gd name="connsiteX7" fmla="*/ 257175 w 3524250"/>
              <a:gd name="connsiteY7" fmla="*/ 352425 h 3952875"/>
              <a:gd name="connsiteX8" fmla="*/ 333375 w 3524250"/>
              <a:gd name="connsiteY8" fmla="*/ 438150 h 3952875"/>
              <a:gd name="connsiteX9" fmla="*/ 371475 w 3524250"/>
              <a:gd name="connsiteY9" fmla="*/ 504825 h 3952875"/>
              <a:gd name="connsiteX10" fmla="*/ 390525 w 3524250"/>
              <a:gd name="connsiteY10" fmla="*/ 542925 h 3952875"/>
              <a:gd name="connsiteX11" fmla="*/ 438150 w 3524250"/>
              <a:gd name="connsiteY11" fmla="*/ 609600 h 3952875"/>
              <a:gd name="connsiteX12" fmla="*/ 457200 w 3524250"/>
              <a:gd name="connsiteY12" fmla="*/ 666750 h 3952875"/>
              <a:gd name="connsiteX13" fmla="*/ 466725 w 3524250"/>
              <a:gd name="connsiteY13" fmla="*/ 695325 h 3952875"/>
              <a:gd name="connsiteX14" fmla="*/ 485775 w 3524250"/>
              <a:gd name="connsiteY14" fmla="*/ 771525 h 3952875"/>
              <a:gd name="connsiteX15" fmla="*/ 504825 w 3524250"/>
              <a:gd name="connsiteY15" fmla="*/ 847725 h 3952875"/>
              <a:gd name="connsiteX16" fmla="*/ 514350 w 3524250"/>
              <a:gd name="connsiteY16" fmla="*/ 981075 h 3952875"/>
              <a:gd name="connsiteX17" fmla="*/ 523875 w 3524250"/>
              <a:gd name="connsiteY17" fmla="*/ 1009650 h 3952875"/>
              <a:gd name="connsiteX18" fmla="*/ 533400 w 3524250"/>
              <a:gd name="connsiteY18" fmla="*/ 1076325 h 3952875"/>
              <a:gd name="connsiteX19" fmla="*/ 552450 w 3524250"/>
              <a:gd name="connsiteY19" fmla="*/ 1114425 h 3952875"/>
              <a:gd name="connsiteX20" fmla="*/ 619125 w 3524250"/>
              <a:gd name="connsiteY20" fmla="*/ 1190625 h 3952875"/>
              <a:gd name="connsiteX21" fmla="*/ 666750 w 3524250"/>
              <a:gd name="connsiteY21" fmla="*/ 1238250 h 3952875"/>
              <a:gd name="connsiteX22" fmla="*/ 723900 w 3524250"/>
              <a:gd name="connsiteY22" fmla="*/ 1295400 h 3952875"/>
              <a:gd name="connsiteX23" fmla="*/ 752475 w 3524250"/>
              <a:gd name="connsiteY23" fmla="*/ 1314450 h 3952875"/>
              <a:gd name="connsiteX24" fmla="*/ 800100 w 3524250"/>
              <a:gd name="connsiteY24" fmla="*/ 1371600 h 3952875"/>
              <a:gd name="connsiteX25" fmla="*/ 828675 w 3524250"/>
              <a:gd name="connsiteY25" fmla="*/ 1390650 h 3952875"/>
              <a:gd name="connsiteX26" fmla="*/ 876300 w 3524250"/>
              <a:gd name="connsiteY26" fmla="*/ 1457325 h 3952875"/>
              <a:gd name="connsiteX27" fmla="*/ 933450 w 3524250"/>
              <a:gd name="connsiteY27" fmla="*/ 1514475 h 3952875"/>
              <a:gd name="connsiteX28" fmla="*/ 990600 w 3524250"/>
              <a:gd name="connsiteY28" fmla="*/ 1609725 h 3952875"/>
              <a:gd name="connsiteX29" fmla="*/ 1009650 w 3524250"/>
              <a:gd name="connsiteY29" fmla="*/ 1666875 h 3952875"/>
              <a:gd name="connsiteX30" fmla="*/ 1019175 w 3524250"/>
              <a:gd name="connsiteY30" fmla="*/ 1695450 h 3952875"/>
              <a:gd name="connsiteX31" fmla="*/ 1028700 w 3524250"/>
              <a:gd name="connsiteY31" fmla="*/ 1724025 h 3952875"/>
              <a:gd name="connsiteX32" fmla="*/ 1047750 w 3524250"/>
              <a:gd name="connsiteY32" fmla="*/ 1762125 h 3952875"/>
              <a:gd name="connsiteX33" fmla="*/ 1057275 w 3524250"/>
              <a:gd name="connsiteY33" fmla="*/ 1790700 h 3952875"/>
              <a:gd name="connsiteX34" fmla="*/ 1076325 w 3524250"/>
              <a:gd name="connsiteY34" fmla="*/ 1819275 h 3952875"/>
              <a:gd name="connsiteX35" fmla="*/ 1095375 w 3524250"/>
              <a:gd name="connsiteY35" fmla="*/ 1857375 h 3952875"/>
              <a:gd name="connsiteX36" fmla="*/ 1181100 w 3524250"/>
              <a:gd name="connsiteY36" fmla="*/ 1962150 h 3952875"/>
              <a:gd name="connsiteX37" fmla="*/ 1209675 w 3524250"/>
              <a:gd name="connsiteY37" fmla="*/ 2190750 h 3952875"/>
              <a:gd name="connsiteX38" fmla="*/ 1219200 w 3524250"/>
              <a:gd name="connsiteY38" fmla="*/ 2533650 h 3952875"/>
              <a:gd name="connsiteX39" fmla="*/ 1238250 w 3524250"/>
              <a:gd name="connsiteY39" fmla="*/ 2562225 h 3952875"/>
              <a:gd name="connsiteX40" fmla="*/ 1247775 w 3524250"/>
              <a:gd name="connsiteY40" fmla="*/ 2590800 h 3952875"/>
              <a:gd name="connsiteX41" fmla="*/ 1295400 w 3524250"/>
              <a:gd name="connsiteY41" fmla="*/ 2647950 h 3952875"/>
              <a:gd name="connsiteX42" fmla="*/ 1323975 w 3524250"/>
              <a:gd name="connsiteY42" fmla="*/ 2714625 h 3952875"/>
              <a:gd name="connsiteX43" fmla="*/ 1352550 w 3524250"/>
              <a:gd name="connsiteY43" fmla="*/ 2752725 h 3952875"/>
              <a:gd name="connsiteX44" fmla="*/ 1390650 w 3524250"/>
              <a:gd name="connsiteY44" fmla="*/ 2809875 h 3952875"/>
              <a:gd name="connsiteX45" fmla="*/ 1409700 w 3524250"/>
              <a:gd name="connsiteY45" fmla="*/ 2838450 h 3952875"/>
              <a:gd name="connsiteX46" fmla="*/ 1438275 w 3524250"/>
              <a:gd name="connsiteY46" fmla="*/ 2876550 h 3952875"/>
              <a:gd name="connsiteX47" fmla="*/ 1495425 w 3524250"/>
              <a:gd name="connsiteY47" fmla="*/ 2933700 h 3952875"/>
              <a:gd name="connsiteX48" fmla="*/ 1524000 w 3524250"/>
              <a:gd name="connsiteY48" fmla="*/ 2962275 h 3952875"/>
              <a:gd name="connsiteX49" fmla="*/ 1581150 w 3524250"/>
              <a:gd name="connsiteY49" fmla="*/ 3009900 h 3952875"/>
              <a:gd name="connsiteX50" fmla="*/ 1619250 w 3524250"/>
              <a:gd name="connsiteY50" fmla="*/ 3038475 h 3952875"/>
              <a:gd name="connsiteX51" fmla="*/ 1676400 w 3524250"/>
              <a:gd name="connsiteY51" fmla="*/ 3095625 h 3952875"/>
              <a:gd name="connsiteX52" fmla="*/ 1790700 w 3524250"/>
              <a:gd name="connsiteY52" fmla="*/ 3181350 h 3952875"/>
              <a:gd name="connsiteX53" fmla="*/ 1857375 w 3524250"/>
              <a:gd name="connsiteY53" fmla="*/ 3228975 h 3952875"/>
              <a:gd name="connsiteX54" fmla="*/ 1962150 w 3524250"/>
              <a:gd name="connsiteY54" fmla="*/ 3295650 h 3952875"/>
              <a:gd name="connsiteX55" fmla="*/ 2057400 w 3524250"/>
              <a:gd name="connsiteY55" fmla="*/ 3371850 h 3952875"/>
              <a:gd name="connsiteX56" fmla="*/ 2095500 w 3524250"/>
              <a:gd name="connsiteY56" fmla="*/ 3390900 h 3952875"/>
              <a:gd name="connsiteX57" fmla="*/ 2143125 w 3524250"/>
              <a:gd name="connsiteY57" fmla="*/ 3419475 h 3952875"/>
              <a:gd name="connsiteX58" fmla="*/ 2190750 w 3524250"/>
              <a:gd name="connsiteY58" fmla="*/ 3457575 h 3952875"/>
              <a:gd name="connsiteX59" fmla="*/ 2238375 w 3524250"/>
              <a:gd name="connsiteY59" fmla="*/ 3486150 h 3952875"/>
              <a:gd name="connsiteX60" fmla="*/ 2295525 w 3524250"/>
              <a:gd name="connsiteY60" fmla="*/ 3533775 h 3952875"/>
              <a:gd name="connsiteX61" fmla="*/ 2352675 w 3524250"/>
              <a:gd name="connsiteY61" fmla="*/ 3562350 h 3952875"/>
              <a:gd name="connsiteX62" fmla="*/ 2447925 w 3524250"/>
              <a:gd name="connsiteY62" fmla="*/ 3619500 h 3952875"/>
              <a:gd name="connsiteX63" fmla="*/ 2514600 w 3524250"/>
              <a:gd name="connsiteY63" fmla="*/ 3657600 h 3952875"/>
              <a:gd name="connsiteX64" fmla="*/ 2571750 w 3524250"/>
              <a:gd name="connsiteY64" fmla="*/ 3676650 h 3952875"/>
              <a:gd name="connsiteX65" fmla="*/ 2647950 w 3524250"/>
              <a:gd name="connsiteY65" fmla="*/ 3724275 h 3952875"/>
              <a:gd name="connsiteX66" fmla="*/ 2781300 w 3524250"/>
              <a:gd name="connsiteY66" fmla="*/ 3771900 h 3952875"/>
              <a:gd name="connsiteX67" fmla="*/ 2847975 w 3524250"/>
              <a:gd name="connsiteY67" fmla="*/ 3800475 h 3952875"/>
              <a:gd name="connsiteX68" fmla="*/ 2895600 w 3524250"/>
              <a:gd name="connsiteY68" fmla="*/ 3810000 h 3952875"/>
              <a:gd name="connsiteX69" fmla="*/ 2952750 w 3524250"/>
              <a:gd name="connsiteY69" fmla="*/ 3829050 h 3952875"/>
              <a:gd name="connsiteX70" fmla="*/ 3000375 w 3524250"/>
              <a:gd name="connsiteY70" fmla="*/ 3838575 h 3952875"/>
              <a:gd name="connsiteX71" fmla="*/ 3105150 w 3524250"/>
              <a:gd name="connsiteY71" fmla="*/ 3876675 h 3952875"/>
              <a:gd name="connsiteX72" fmla="*/ 3152775 w 3524250"/>
              <a:gd name="connsiteY72" fmla="*/ 3886200 h 3952875"/>
              <a:gd name="connsiteX73" fmla="*/ 3181350 w 3524250"/>
              <a:gd name="connsiteY73" fmla="*/ 3905250 h 3952875"/>
              <a:gd name="connsiteX74" fmla="*/ 3314700 w 3524250"/>
              <a:gd name="connsiteY74" fmla="*/ 3952875 h 3952875"/>
              <a:gd name="connsiteX75" fmla="*/ 3324225 w 3524250"/>
              <a:gd name="connsiteY75" fmla="*/ 3895725 h 3952875"/>
              <a:gd name="connsiteX76" fmla="*/ 3409950 w 3524250"/>
              <a:gd name="connsiteY76" fmla="*/ 3848100 h 3952875"/>
              <a:gd name="connsiteX77" fmla="*/ 3448050 w 3524250"/>
              <a:gd name="connsiteY77" fmla="*/ 3829050 h 3952875"/>
              <a:gd name="connsiteX78" fmla="*/ 3524250 w 3524250"/>
              <a:gd name="connsiteY78" fmla="*/ 3810000 h 3952875"/>
              <a:gd name="connsiteX0" fmla="*/ 142875 w 3448050"/>
              <a:gd name="connsiteY0" fmla="*/ 76200 h 3952875"/>
              <a:gd name="connsiteX1" fmla="*/ 0 w 3448050"/>
              <a:gd name="connsiteY1" fmla="*/ 0 h 3952875"/>
              <a:gd name="connsiteX2" fmla="*/ 47625 w 3448050"/>
              <a:gd name="connsiteY2" fmla="*/ 95250 h 3952875"/>
              <a:gd name="connsiteX3" fmla="*/ 133350 w 3448050"/>
              <a:gd name="connsiteY3" fmla="*/ 200025 h 3952875"/>
              <a:gd name="connsiteX4" fmla="*/ 180975 w 3448050"/>
              <a:gd name="connsiteY4" fmla="*/ 257175 h 3952875"/>
              <a:gd name="connsiteX5" fmla="*/ 209550 w 3448050"/>
              <a:gd name="connsiteY5" fmla="*/ 295275 h 3952875"/>
              <a:gd name="connsiteX6" fmla="*/ 238125 w 3448050"/>
              <a:gd name="connsiteY6" fmla="*/ 323850 h 3952875"/>
              <a:gd name="connsiteX7" fmla="*/ 257175 w 3448050"/>
              <a:gd name="connsiteY7" fmla="*/ 352425 h 3952875"/>
              <a:gd name="connsiteX8" fmla="*/ 333375 w 3448050"/>
              <a:gd name="connsiteY8" fmla="*/ 438150 h 3952875"/>
              <a:gd name="connsiteX9" fmla="*/ 371475 w 3448050"/>
              <a:gd name="connsiteY9" fmla="*/ 504825 h 3952875"/>
              <a:gd name="connsiteX10" fmla="*/ 390525 w 3448050"/>
              <a:gd name="connsiteY10" fmla="*/ 542925 h 3952875"/>
              <a:gd name="connsiteX11" fmla="*/ 438150 w 3448050"/>
              <a:gd name="connsiteY11" fmla="*/ 609600 h 3952875"/>
              <a:gd name="connsiteX12" fmla="*/ 457200 w 3448050"/>
              <a:gd name="connsiteY12" fmla="*/ 666750 h 3952875"/>
              <a:gd name="connsiteX13" fmla="*/ 466725 w 3448050"/>
              <a:gd name="connsiteY13" fmla="*/ 695325 h 3952875"/>
              <a:gd name="connsiteX14" fmla="*/ 485775 w 3448050"/>
              <a:gd name="connsiteY14" fmla="*/ 771525 h 3952875"/>
              <a:gd name="connsiteX15" fmla="*/ 504825 w 3448050"/>
              <a:gd name="connsiteY15" fmla="*/ 847725 h 3952875"/>
              <a:gd name="connsiteX16" fmla="*/ 514350 w 3448050"/>
              <a:gd name="connsiteY16" fmla="*/ 981075 h 3952875"/>
              <a:gd name="connsiteX17" fmla="*/ 523875 w 3448050"/>
              <a:gd name="connsiteY17" fmla="*/ 1009650 h 3952875"/>
              <a:gd name="connsiteX18" fmla="*/ 533400 w 3448050"/>
              <a:gd name="connsiteY18" fmla="*/ 1076325 h 3952875"/>
              <a:gd name="connsiteX19" fmla="*/ 552450 w 3448050"/>
              <a:gd name="connsiteY19" fmla="*/ 1114425 h 3952875"/>
              <a:gd name="connsiteX20" fmla="*/ 619125 w 3448050"/>
              <a:gd name="connsiteY20" fmla="*/ 1190625 h 3952875"/>
              <a:gd name="connsiteX21" fmla="*/ 666750 w 3448050"/>
              <a:gd name="connsiteY21" fmla="*/ 1238250 h 3952875"/>
              <a:gd name="connsiteX22" fmla="*/ 723900 w 3448050"/>
              <a:gd name="connsiteY22" fmla="*/ 1295400 h 3952875"/>
              <a:gd name="connsiteX23" fmla="*/ 752475 w 3448050"/>
              <a:gd name="connsiteY23" fmla="*/ 1314450 h 3952875"/>
              <a:gd name="connsiteX24" fmla="*/ 800100 w 3448050"/>
              <a:gd name="connsiteY24" fmla="*/ 1371600 h 3952875"/>
              <a:gd name="connsiteX25" fmla="*/ 828675 w 3448050"/>
              <a:gd name="connsiteY25" fmla="*/ 1390650 h 3952875"/>
              <a:gd name="connsiteX26" fmla="*/ 876300 w 3448050"/>
              <a:gd name="connsiteY26" fmla="*/ 1457325 h 3952875"/>
              <a:gd name="connsiteX27" fmla="*/ 933450 w 3448050"/>
              <a:gd name="connsiteY27" fmla="*/ 1514475 h 3952875"/>
              <a:gd name="connsiteX28" fmla="*/ 990600 w 3448050"/>
              <a:gd name="connsiteY28" fmla="*/ 1609725 h 3952875"/>
              <a:gd name="connsiteX29" fmla="*/ 1009650 w 3448050"/>
              <a:gd name="connsiteY29" fmla="*/ 1666875 h 3952875"/>
              <a:gd name="connsiteX30" fmla="*/ 1019175 w 3448050"/>
              <a:gd name="connsiteY30" fmla="*/ 1695450 h 3952875"/>
              <a:gd name="connsiteX31" fmla="*/ 1028700 w 3448050"/>
              <a:gd name="connsiteY31" fmla="*/ 1724025 h 3952875"/>
              <a:gd name="connsiteX32" fmla="*/ 1047750 w 3448050"/>
              <a:gd name="connsiteY32" fmla="*/ 1762125 h 3952875"/>
              <a:gd name="connsiteX33" fmla="*/ 1057275 w 3448050"/>
              <a:gd name="connsiteY33" fmla="*/ 1790700 h 3952875"/>
              <a:gd name="connsiteX34" fmla="*/ 1076325 w 3448050"/>
              <a:gd name="connsiteY34" fmla="*/ 1819275 h 3952875"/>
              <a:gd name="connsiteX35" fmla="*/ 1095375 w 3448050"/>
              <a:gd name="connsiteY35" fmla="*/ 1857375 h 3952875"/>
              <a:gd name="connsiteX36" fmla="*/ 1181100 w 3448050"/>
              <a:gd name="connsiteY36" fmla="*/ 1962150 h 3952875"/>
              <a:gd name="connsiteX37" fmla="*/ 1209675 w 3448050"/>
              <a:gd name="connsiteY37" fmla="*/ 2190750 h 3952875"/>
              <a:gd name="connsiteX38" fmla="*/ 1219200 w 3448050"/>
              <a:gd name="connsiteY38" fmla="*/ 2533650 h 3952875"/>
              <a:gd name="connsiteX39" fmla="*/ 1238250 w 3448050"/>
              <a:gd name="connsiteY39" fmla="*/ 2562225 h 3952875"/>
              <a:gd name="connsiteX40" fmla="*/ 1247775 w 3448050"/>
              <a:gd name="connsiteY40" fmla="*/ 2590800 h 3952875"/>
              <a:gd name="connsiteX41" fmla="*/ 1295400 w 3448050"/>
              <a:gd name="connsiteY41" fmla="*/ 2647950 h 3952875"/>
              <a:gd name="connsiteX42" fmla="*/ 1323975 w 3448050"/>
              <a:gd name="connsiteY42" fmla="*/ 2714625 h 3952875"/>
              <a:gd name="connsiteX43" fmla="*/ 1352550 w 3448050"/>
              <a:gd name="connsiteY43" fmla="*/ 2752725 h 3952875"/>
              <a:gd name="connsiteX44" fmla="*/ 1390650 w 3448050"/>
              <a:gd name="connsiteY44" fmla="*/ 2809875 h 3952875"/>
              <a:gd name="connsiteX45" fmla="*/ 1409700 w 3448050"/>
              <a:gd name="connsiteY45" fmla="*/ 2838450 h 3952875"/>
              <a:gd name="connsiteX46" fmla="*/ 1438275 w 3448050"/>
              <a:gd name="connsiteY46" fmla="*/ 2876550 h 3952875"/>
              <a:gd name="connsiteX47" fmla="*/ 1495425 w 3448050"/>
              <a:gd name="connsiteY47" fmla="*/ 2933700 h 3952875"/>
              <a:gd name="connsiteX48" fmla="*/ 1524000 w 3448050"/>
              <a:gd name="connsiteY48" fmla="*/ 2962275 h 3952875"/>
              <a:gd name="connsiteX49" fmla="*/ 1581150 w 3448050"/>
              <a:gd name="connsiteY49" fmla="*/ 3009900 h 3952875"/>
              <a:gd name="connsiteX50" fmla="*/ 1619250 w 3448050"/>
              <a:gd name="connsiteY50" fmla="*/ 3038475 h 3952875"/>
              <a:gd name="connsiteX51" fmla="*/ 1676400 w 3448050"/>
              <a:gd name="connsiteY51" fmla="*/ 3095625 h 3952875"/>
              <a:gd name="connsiteX52" fmla="*/ 1790700 w 3448050"/>
              <a:gd name="connsiteY52" fmla="*/ 3181350 h 3952875"/>
              <a:gd name="connsiteX53" fmla="*/ 1857375 w 3448050"/>
              <a:gd name="connsiteY53" fmla="*/ 3228975 h 3952875"/>
              <a:gd name="connsiteX54" fmla="*/ 1962150 w 3448050"/>
              <a:gd name="connsiteY54" fmla="*/ 3295650 h 3952875"/>
              <a:gd name="connsiteX55" fmla="*/ 2057400 w 3448050"/>
              <a:gd name="connsiteY55" fmla="*/ 3371850 h 3952875"/>
              <a:gd name="connsiteX56" fmla="*/ 2095500 w 3448050"/>
              <a:gd name="connsiteY56" fmla="*/ 3390900 h 3952875"/>
              <a:gd name="connsiteX57" fmla="*/ 2143125 w 3448050"/>
              <a:gd name="connsiteY57" fmla="*/ 3419475 h 3952875"/>
              <a:gd name="connsiteX58" fmla="*/ 2190750 w 3448050"/>
              <a:gd name="connsiteY58" fmla="*/ 3457575 h 3952875"/>
              <a:gd name="connsiteX59" fmla="*/ 2238375 w 3448050"/>
              <a:gd name="connsiteY59" fmla="*/ 3486150 h 3952875"/>
              <a:gd name="connsiteX60" fmla="*/ 2295525 w 3448050"/>
              <a:gd name="connsiteY60" fmla="*/ 3533775 h 3952875"/>
              <a:gd name="connsiteX61" fmla="*/ 2352675 w 3448050"/>
              <a:gd name="connsiteY61" fmla="*/ 3562350 h 3952875"/>
              <a:gd name="connsiteX62" fmla="*/ 2447925 w 3448050"/>
              <a:gd name="connsiteY62" fmla="*/ 3619500 h 3952875"/>
              <a:gd name="connsiteX63" fmla="*/ 2514600 w 3448050"/>
              <a:gd name="connsiteY63" fmla="*/ 3657600 h 3952875"/>
              <a:gd name="connsiteX64" fmla="*/ 2571750 w 3448050"/>
              <a:gd name="connsiteY64" fmla="*/ 3676650 h 3952875"/>
              <a:gd name="connsiteX65" fmla="*/ 2647950 w 3448050"/>
              <a:gd name="connsiteY65" fmla="*/ 3724275 h 3952875"/>
              <a:gd name="connsiteX66" fmla="*/ 2781300 w 3448050"/>
              <a:gd name="connsiteY66" fmla="*/ 3771900 h 3952875"/>
              <a:gd name="connsiteX67" fmla="*/ 2847975 w 3448050"/>
              <a:gd name="connsiteY67" fmla="*/ 3800475 h 3952875"/>
              <a:gd name="connsiteX68" fmla="*/ 2895600 w 3448050"/>
              <a:gd name="connsiteY68" fmla="*/ 3810000 h 3952875"/>
              <a:gd name="connsiteX69" fmla="*/ 2952750 w 3448050"/>
              <a:gd name="connsiteY69" fmla="*/ 3829050 h 3952875"/>
              <a:gd name="connsiteX70" fmla="*/ 3000375 w 3448050"/>
              <a:gd name="connsiteY70" fmla="*/ 3838575 h 3952875"/>
              <a:gd name="connsiteX71" fmla="*/ 3105150 w 3448050"/>
              <a:gd name="connsiteY71" fmla="*/ 3876675 h 3952875"/>
              <a:gd name="connsiteX72" fmla="*/ 3152775 w 3448050"/>
              <a:gd name="connsiteY72" fmla="*/ 3886200 h 3952875"/>
              <a:gd name="connsiteX73" fmla="*/ 3181350 w 3448050"/>
              <a:gd name="connsiteY73" fmla="*/ 3905250 h 3952875"/>
              <a:gd name="connsiteX74" fmla="*/ 3314700 w 3448050"/>
              <a:gd name="connsiteY74" fmla="*/ 3952875 h 3952875"/>
              <a:gd name="connsiteX75" fmla="*/ 3324225 w 3448050"/>
              <a:gd name="connsiteY75" fmla="*/ 3895725 h 3952875"/>
              <a:gd name="connsiteX76" fmla="*/ 3409950 w 3448050"/>
              <a:gd name="connsiteY76" fmla="*/ 3848100 h 3952875"/>
              <a:gd name="connsiteX77" fmla="*/ 3448050 w 3448050"/>
              <a:gd name="connsiteY77" fmla="*/ 3829050 h 3952875"/>
              <a:gd name="connsiteX0" fmla="*/ 142875 w 3409950"/>
              <a:gd name="connsiteY0" fmla="*/ 76200 h 3952875"/>
              <a:gd name="connsiteX1" fmla="*/ 0 w 3409950"/>
              <a:gd name="connsiteY1" fmla="*/ 0 h 3952875"/>
              <a:gd name="connsiteX2" fmla="*/ 47625 w 3409950"/>
              <a:gd name="connsiteY2" fmla="*/ 95250 h 3952875"/>
              <a:gd name="connsiteX3" fmla="*/ 133350 w 3409950"/>
              <a:gd name="connsiteY3" fmla="*/ 200025 h 3952875"/>
              <a:gd name="connsiteX4" fmla="*/ 180975 w 3409950"/>
              <a:gd name="connsiteY4" fmla="*/ 257175 h 3952875"/>
              <a:gd name="connsiteX5" fmla="*/ 209550 w 3409950"/>
              <a:gd name="connsiteY5" fmla="*/ 295275 h 3952875"/>
              <a:gd name="connsiteX6" fmla="*/ 238125 w 3409950"/>
              <a:gd name="connsiteY6" fmla="*/ 323850 h 3952875"/>
              <a:gd name="connsiteX7" fmla="*/ 257175 w 3409950"/>
              <a:gd name="connsiteY7" fmla="*/ 352425 h 3952875"/>
              <a:gd name="connsiteX8" fmla="*/ 333375 w 3409950"/>
              <a:gd name="connsiteY8" fmla="*/ 438150 h 3952875"/>
              <a:gd name="connsiteX9" fmla="*/ 371475 w 3409950"/>
              <a:gd name="connsiteY9" fmla="*/ 504825 h 3952875"/>
              <a:gd name="connsiteX10" fmla="*/ 390525 w 3409950"/>
              <a:gd name="connsiteY10" fmla="*/ 542925 h 3952875"/>
              <a:gd name="connsiteX11" fmla="*/ 438150 w 3409950"/>
              <a:gd name="connsiteY11" fmla="*/ 609600 h 3952875"/>
              <a:gd name="connsiteX12" fmla="*/ 457200 w 3409950"/>
              <a:gd name="connsiteY12" fmla="*/ 666750 h 3952875"/>
              <a:gd name="connsiteX13" fmla="*/ 466725 w 3409950"/>
              <a:gd name="connsiteY13" fmla="*/ 695325 h 3952875"/>
              <a:gd name="connsiteX14" fmla="*/ 485775 w 3409950"/>
              <a:gd name="connsiteY14" fmla="*/ 771525 h 3952875"/>
              <a:gd name="connsiteX15" fmla="*/ 504825 w 3409950"/>
              <a:gd name="connsiteY15" fmla="*/ 847725 h 3952875"/>
              <a:gd name="connsiteX16" fmla="*/ 514350 w 3409950"/>
              <a:gd name="connsiteY16" fmla="*/ 981075 h 3952875"/>
              <a:gd name="connsiteX17" fmla="*/ 523875 w 3409950"/>
              <a:gd name="connsiteY17" fmla="*/ 1009650 h 3952875"/>
              <a:gd name="connsiteX18" fmla="*/ 533400 w 3409950"/>
              <a:gd name="connsiteY18" fmla="*/ 1076325 h 3952875"/>
              <a:gd name="connsiteX19" fmla="*/ 552450 w 3409950"/>
              <a:gd name="connsiteY19" fmla="*/ 1114425 h 3952875"/>
              <a:gd name="connsiteX20" fmla="*/ 619125 w 3409950"/>
              <a:gd name="connsiteY20" fmla="*/ 1190625 h 3952875"/>
              <a:gd name="connsiteX21" fmla="*/ 666750 w 3409950"/>
              <a:gd name="connsiteY21" fmla="*/ 1238250 h 3952875"/>
              <a:gd name="connsiteX22" fmla="*/ 723900 w 3409950"/>
              <a:gd name="connsiteY22" fmla="*/ 1295400 h 3952875"/>
              <a:gd name="connsiteX23" fmla="*/ 752475 w 3409950"/>
              <a:gd name="connsiteY23" fmla="*/ 1314450 h 3952875"/>
              <a:gd name="connsiteX24" fmla="*/ 800100 w 3409950"/>
              <a:gd name="connsiteY24" fmla="*/ 1371600 h 3952875"/>
              <a:gd name="connsiteX25" fmla="*/ 828675 w 3409950"/>
              <a:gd name="connsiteY25" fmla="*/ 1390650 h 3952875"/>
              <a:gd name="connsiteX26" fmla="*/ 876300 w 3409950"/>
              <a:gd name="connsiteY26" fmla="*/ 1457325 h 3952875"/>
              <a:gd name="connsiteX27" fmla="*/ 933450 w 3409950"/>
              <a:gd name="connsiteY27" fmla="*/ 1514475 h 3952875"/>
              <a:gd name="connsiteX28" fmla="*/ 990600 w 3409950"/>
              <a:gd name="connsiteY28" fmla="*/ 1609725 h 3952875"/>
              <a:gd name="connsiteX29" fmla="*/ 1009650 w 3409950"/>
              <a:gd name="connsiteY29" fmla="*/ 1666875 h 3952875"/>
              <a:gd name="connsiteX30" fmla="*/ 1019175 w 3409950"/>
              <a:gd name="connsiteY30" fmla="*/ 1695450 h 3952875"/>
              <a:gd name="connsiteX31" fmla="*/ 1028700 w 3409950"/>
              <a:gd name="connsiteY31" fmla="*/ 1724025 h 3952875"/>
              <a:gd name="connsiteX32" fmla="*/ 1047750 w 3409950"/>
              <a:gd name="connsiteY32" fmla="*/ 1762125 h 3952875"/>
              <a:gd name="connsiteX33" fmla="*/ 1057275 w 3409950"/>
              <a:gd name="connsiteY33" fmla="*/ 1790700 h 3952875"/>
              <a:gd name="connsiteX34" fmla="*/ 1076325 w 3409950"/>
              <a:gd name="connsiteY34" fmla="*/ 1819275 h 3952875"/>
              <a:gd name="connsiteX35" fmla="*/ 1095375 w 3409950"/>
              <a:gd name="connsiteY35" fmla="*/ 1857375 h 3952875"/>
              <a:gd name="connsiteX36" fmla="*/ 1181100 w 3409950"/>
              <a:gd name="connsiteY36" fmla="*/ 1962150 h 3952875"/>
              <a:gd name="connsiteX37" fmla="*/ 1209675 w 3409950"/>
              <a:gd name="connsiteY37" fmla="*/ 2190750 h 3952875"/>
              <a:gd name="connsiteX38" fmla="*/ 1219200 w 3409950"/>
              <a:gd name="connsiteY38" fmla="*/ 2533650 h 3952875"/>
              <a:gd name="connsiteX39" fmla="*/ 1238250 w 3409950"/>
              <a:gd name="connsiteY39" fmla="*/ 2562225 h 3952875"/>
              <a:gd name="connsiteX40" fmla="*/ 1247775 w 3409950"/>
              <a:gd name="connsiteY40" fmla="*/ 2590800 h 3952875"/>
              <a:gd name="connsiteX41" fmla="*/ 1295400 w 3409950"/>
              <a:gd name="connsiteY41" fmla="*/ 2647950 h 3952875"/>
              <a:gd name="connsiteX42" fmla="*/ 1323975 w 3409950"/>
              <a:gd name="connsiteY42" fmla="*/ 2714625 h 3952875"/>
              <a:gd name="connsiteX43" fmla="*/ 1352550 w 3409950"/>
              <a:gd name="connsiteY43" fmla="*/ 2752725 h 3952875"/>
              <a:gd name="connsiteX44" fmla="*/ 1390650 w 3409950"/>
              <a:gd name="connsiteY44" fmla="*/ 2809875 h 3952875"/>
              <a:gd name="connsiteX45" fmla="*/ 1409700 w 3409950"/>
              <a:gd name="connsiteY45" fmla="*/ 2838450 h 3952875"/>
              <a:gd name="connsiteX46" fmla="*/ 1438275 w 3409950"/>
              <a:gd name="connsiteY46" fmla="*/ 2876550 h 3952875"/>
              <a:gd name="connsiteX47" fmla="*/ 1495425 w 3409950"/>
              <a:gd name="connsiteY47" fmla="*/ 2933700 h 3952875"/>
              <a:gd name="connsiteX48" fmla="*/ 1524000 w 3409950"/>
              <a:gd name="connsiteY48" fmla="*/ 2962275 h 3952875"/>
              <a:gd name="connsiteX49" fmla="*/ 1581150 w 3409950"/>
              <a:gd name="connsiteY49" fmla="*/ 3009900 h 3952875"/>
              <a:gd name="connsiteX50" fmla="*/ 1619250 w 3409950"/>
              <a:gd name="connsiteY50" fmla="*/ 3038475 h 3952875"/>
              <a:gd name="connsiteX51" fmla="*/ 1676400 w 3409950"/>
              <a:gd name="connsiteY51" fmla="*/ 3095625 h 3952875"/>
              <a:gd name="connsiteX52" fmla="*/ 1790700 w 3409950"/>
              <a:gd name="connsiteY52" fmla="*/ 3181350 h 3952875"/>
              <a:gd name="connsiteX53" fmla="*/ 1857375 w 3409950"/>
              <a:gd name="connsiteY53" fmla="*/ 3228975 h 3952875"/>
              <a:gd name="connsiteX54" fmla="*/ 1962150 w 3409950"/>
              <a:gd name="connsiteY54" fmla="*/ 3295650 h 3952875"/>
              <a:gd name="connsiteX55" fmla="*/ 2057400 w 3409950"/>
              <a:gd name="connsiteY55" fmla="*/ 3371850 h 3952875"/>
              <a:gd name="connsiteX56" fmla="*/ 2095500 w 3409950"/>
              <a:gd name="connsiteY56" fmla="*/ 3390900 h 3952875"/>
              <a:gd name="connsiteX57" fmla="*/ 2143125 w 3409950"/>
              <a:gd name="connsiteY57" fmla="*/ 3419475 h 3952875"/>
              <a:gd name="connsiteX58" fmla="*/ 2190750 w 3409950"/>
              <a:gd name="connsiteY58" fmla="*/ 3457575 h 3952875"/>
              <a:gd name="connsiteX59" fmla="*/ 2238375 w 3409950"/>
              <a:gd name="connsiteY59" fmla="*/ 3486150 h 3952875"/>
              <a:gd name="connsiteX60" fmla="*/ 2295525 w 3409950"/>
              <a:gd name="connsiteY60" fmla="*/ 3533775 h 3952875"/>
              <a:gd name="connsiteX61" fmla="*/ 2352675 w 3409950"/>
              <a:gd name="connsiteY61" fmla="*/ 3562350 h 3952875"/>
              <a:gd name="connsiteX62" fmla="*/ 2447925 w 3409950"/>
              <a:gd name="connsiteY62" fmla="*/ 3619500 h 3952875"/>
              <a:gd name="connsiteX63" fmla="*/ 2514600 w 3409950"/>
              <a:gd name="connsiteY63" fmla="*/ 3657600 h 3952875"/>
              <a:gd name="connsiteX64" fmla="*/ 2571750 w 3409950"/>
              <a:gd name="connsiteY64" fmla="*/ 3676650 h 3952875"/>
              <a:gd name="connsiteX65" fmla="*/ 2647950 w 3409950"/>
              <a:gd name="connsiteY65" fmla="*/ 3724275 h 3952875"/>
              <a:gd name="connsiteX66" fmla="*/ 2781300 w 3409950"/>
              <a:gd name="connsiteY66" fmla="*/ 3771900 h 3952875"/>
              <a:gd name="connsiteX67" fmla="*/ 2847975 w 3409950"/>
              <a:gd name="connsiteY67" fmla="*/ 3800475 h 3952875"/>
              <a:gd name="connsiteX68" fmla="*/ 2895600 w 3409950"/>
              <a:gd name="connsiteY68" fmla="*/ 3810000 h 3952875"/>
              <a:gd name="connsiteX69" fmla="*/ 2952750 w 3409950"/>
              <a:gd name="connsiteY69" fmla="*/ 3829050 h 3952875"/>
              <a:gd name="connsiteX70" fmla="*/ 3000375 w 3409950"/>
              <a:gd name="connsiteY70" fmla="*/ 3838575 h 3952875"/>
              <a:gd name="connsiteX71" fmla="*/ 3105150 w 3409950"/>
              <a:gd name="connsiteY71" fmla="*/ 3876675 h 3952875"/>
              <a:gd name="connsiteX72" fmla="*/ 3152775 w 3409950"/>
              <a:gd name="connsiteY72" fmla="*/ 3886200 h 3952875"/>
              <a:gd name="connsiteX73" fmla="*/ 3181350 w 3409950"/>
              <a:gd name="connsiteY73" fmla="*/ 3905250 h 3952875"/>
              <a:gd name="connsiteX74" fmla="*/ 3314700 w 3409950"/>
              <a:gd name="connsiteY74" fmla="*/ 3952875 h 3952875"/>
              <a:gd name="connsiteX75" fmla="*/ 3324225 w 3409950"/>
              <a:gd name="connsiteY75" fmla="*/ 3895725 h 3952875"/>
              <a:gd name="connsiteX76" fmla="*/ 3409950 w 3409950"/>
              <a:gd name="connsiteY76" fmla="*/ 3848100 h 3952875"/>
              <a:gd name="connsiteX0" fmla="*/ 142875 w 3324225"/>
              <a:gd name="connsiteY0" fmla="*/ 76200 h 3952875"/>
              <a:gd name="connsiteX1" fmla="*/ 0 w 3324225"/>
              <a:gd name="connsiteY1" fmla="*/ 0 h 3952875"/>
              <a:gd name="connsiteX2" fmla="*/ 47625 w 3324225"/>
              <a:gd name="connsiteY2" fmla="*/ 95250 h 3952875"/>
              <a:gd name="connsiteX3" fmla="*/ 133350 w 3324225"/>
              <a:gd name="connsiteY3" fmla="*/ 200025 h 3952875"/>
              <a:gd name="connsiteX4" fmla="*/ 180975 w 3324225"/>
              <a:gd name="connsiteY4" fmla="*/ 257175 h 3952875"/>
              <a:gd name="connsiteX5" fmla="*/ 209550 w 3324225"/>
              <a:gd name="connsiteY5" fmla="*/ 295275 h 3952875"/>
              <a:gd name="connsiteX6" fmla="*/ 238125 w 3324225"/>
              <a:gd name="connsiteY6" fmla="*/ 323850 h 3952875"/>
              <a:gd name="connsiteX7" fmla="*/ 257175 w 3324225"/>
              <a:gd name="connsiteY7" fmla="*/ 352425 h 3952875"/>
              <a:gd name="connsiteX8" fmla="*/ 333375 w 3324225"/>
              <a:gd name="connsiteY8" fmla="*/ 438150 h 3952875"/>
              <a:gd name="connsiteX9" fmla="*/ 371475 w 3324225"/>
              <a:gd name="connsiteY9" fmla="*/ 504825 h 3952875"/>
              <a:gd name="connsiteX10" fmla="*/ 390525 w 3324225"/>
              <a:gd name="connsiteY10" fmla="*/ 542925 h 3952875"/>
              <a:gd name="connsiteX11" fmla="*/ 438150 w 3324225"/>
              <a:gd name="connsiteY11" fmla="*/ 609600 h 3952875"/>
              <a:gd name="connsiteX12" fmla="*/ 457200 w 3324225"/>
              <a:gd name="connsiteY12" fmla="*/ 666750 h 3952875"/>
              <a:gd name="connsiteX13" fmla="*/ 466725 w 3324225"/>
              <a:gd name="connsiteY13" fmla="*/ 695325 h 3952875"/>
              <a:gd name="connsiteX14" fmla="*/ 485775 w 3324225"/>
              <a:gd name="connsiteY14" fmla="*/ 771525 h 3952875"/>
              <a:gd name="connsiteX15" fmla="*/ 504825 w 3324225"/>
              <a:gd name="connsiteY15" fmla="*/ 847725 h 3952875"/>
              <a:gd name="connsiteX16" fmla="*/ 514350 w 3324225"/>
              <a:gd name="connsiteY16" fmla="*/ 981075 h 3952875"/>
              <a:gd name="connsiteX17" fmla="*/ 523875 w 3324225"/>
              <a:gd name="connsiteY17" fmla="*/ 1009650 h 3952875"/>
              <a:gd name="connsiteX18" fmla="*/ 533400 w 3324225"/>
              <a:gd name="connsiteY18" fmla="*/ 1076325 h 3952875"/>
              <a:gd name="connsiteX19" fmla="*/ 552450 w 3324225"/>
              <a:gd name="connsiteY19" fmla="*/ 1114425 h 3952875"/>
              <a:gd name="connsiteX20" fmla="*/ 619125 w 3324225"/>
              <a:gd name="connsiteY20" fmla="*/ 1190625 h 3952875"/>
              <a:gd name="connsiteX21" fmla="*/ 666750 w 3324225"/>
              <a:gd name="connsiteY21" fmla="*/ 1238250 h 3952875"/>
              <a:gd name="connsiteX22" fmla="*/ 723900 w 3324225"/>
              <a:gd name="connsiteY22" fmla="*/ 1295400 h 3952875"/>
              <a:gd name="connsiteX23" fmla="*/ 752475 w 3324225"/>
              <a:gd name="connsiteY23" fmla="*/ 1314450 h 3952875"/>
              <a:gd name="connsiteX24" fmla="*/ 800100 w 3324225"/>
              <a:gd name="connsiteY24" fmla="*/ 1371600 h 3952875"/>
              <a:gd name="connsiteX25" fmla="*/ 828675 w 3324225"/>
              <a:gd name="connsiteY25" fmla="*/ 1390650 h 3952875"/>
              <a:gd name="connsiteX26" fmla="*/ 876300 w 3324225"/>
              <a:gd name="connsiteY26" fmla="*/ 1457325 h 3952875"/>
              <a:gd name="connsiteX27" fmla="*/ 933450 w 3324225"/>
              <a:gd name="connsiteY27" fmla="*/ 1514475 h 3952875"/>
              <a:gd name="connsiteX28" fmla="*/ 990600 w 3324225"/>
              <a:gd name="connsiteY28" fmla="*/ 1609725 h 3952875"/>
              <a:gd name="connsiteX29" fmla="*/ 1009650 w 3324225"/>
              <a:gd name="connsiteY29" fmla="*/ 1666875 h 3952875"/>
              <a:gd name="connsiteX30" fmla="*/ 1019175 w 3324225"/>
              <a:gd name="connsiteY30" fmla="*/ 1695450 h 3952875"/>
              <a:gd name="connsiteX31" fmla="*/ 1028700 w 3324225"/>
              <a:gd name="connsiteY31" fmla="*/ 1724025 h 3952875"/>
              <a:gd name="connsiteX32" fmla="*/ 1047750 w 3324225"/>
              <a:gd name="connsiteY32" fmla="*/ 1762125 h 3952875"/>
              <a:gd name="connsiteX33" fmla="*/ 1057275 w 3324225"/>
              <a:gd name="connsiteY33" fmla="*/ 1790700 h 3952875"/>
              <a:gd name="connsiteX34" fmla="*/ 1076325 w 3324225"/>
              <a:gd name="connsiteY34" fmla="*/ 1819275 h 3952875"/>
              <a:gd name="connsiteX35" fmla="*/ 1095375 w 3324225"/>
              <a:gd name="connsiteY35" fmla="*/ 1857375 h 3952875"/>
              <a:gd name="connsiteX36" fmla="*/ 1181100 w 3324225"/>
              <a:gd name="connsiteY36" fmla="*/ 1962150 h 3952875"/>
              <a:gd name="connsiteX37" fmla="*/ 1209675 w 3324225"/>
              <a:gd name="connsiteY37" fmla="*/ 2190750 h 3952875"/>
              <a:gd name="connsiteX38" fmla="*/ 1219200 w 3324225"/>
              <a:gd name="connsiteY38" fmla="*/ 2533650 h 3952875"/>
              <a:gd name="connsiteX39" fmla="*/ 1238250 w 3324225"/>
              <a:gd name="connsiteY39" fmla="*/ 2562225 h 3952875"/>
              <a:gd name="connsiteX40" fmla="*/ 1247775 w 3324225"/>
              <a:gd name="connsiteY40" fmla="*/ 2590800 h 3952875"/>
              <a:gd name="connsiteX41" fmla="*/ 1295400 w 3324225"/>
              <a:gd name="connsiteY41" fmla="*/ 2647950 h 3952875"/>
              <a:gd name="connsiteX42" fmla="*/ 1323975 w 3324225"/>
              <a:gd name="connsiteY42" fmla="*/ 2714625 h 3952875"/>
              <a:gd name="connsiteX43" fmla="*/ 1352550 w 3324225"/>
              <a:gd name="connsiteY43" fmla="*/ 2752725 h 3952875"/>
              <a:gd name="connsiteX44" fmla="*/ 1390650 w 3324225"/>
              <a:gd name="connsiteY44" fmla="*/ 2809875 h 3952875"/>
              <a:gd name="connsiteX45" fmla="*/ 1409700 w 3324225"/>
              <a:gd name="connsiteY45" fmla="*/ 2838450 h 3952875"/>
              <a:gd name="connsiteX46" fmla="*/ 1438275 w 3324225"/>
              <a:gd name="connsiteY46" fmla="*/ 2876550 h 3952875"/>
              <a:gd name="connsiteX47" fmla="*/ 1495425 w 3324225"/>
              <a:gd name="connsiteY47" fmla="*/ 2933700 h 3952875"/>
              <a:gd name="connsiteX48" fmla="*/ 1524000 w 3324225"/>
              <a:gd name="connsiteY48" fmla="*/ 2962275 h 3952875"/>
              <a:gd name="connsiteX49" fmla="*/ 1581150 w 3324225"/>
              <a:gd name="connsiteY49" fmla="*/ 3009900 h 3952875"/>
              <a:gd name="connsiteX50" fmla="*/ 1619250 w 3324225"/>
              <a:gd name="connsiteY50" fmla="*/ 3038475 h 3952875"/>
              <a:gd name="connsiteX51" fmla="*/ 1676400 w 3324225"/>
              <a:gd name="connsiteY51" fmla="*/ 3095625 h 3952875"/>
              <a:gd name="connsiteX52" fmla="*/ 1790700 w 3324225"/>
              <a:gd name="connsiteY52" fmla="*/ 3181350 h 3952875"/>
              <a:gd name="connsiteX53" fmla="*/ 1857375 w 3324225"/>
              <a:gd name="connsiteY53" fmla="*/ 3228975 h 3952875"/>
              <a:gd name="connsiteX54" fmla="*/ 1962150 w 3324225"/>
              <a:gd name="connsiteY54" fmla="*/ 3295650 h 3952875"/>
              <a:gd name="connsiteX55" fmla="*/ 2057400 w 3324225"/>
              <a:gd name="connsiteY55" fmla="*/ 3371850 h 3952875"/>
              <a:gd name="connsiteX56" fmla="*/ 2095500 w 3324225"/>
              <a:gd name="connsiteY56" fmla="*/ 3390900 h 3952875"/>
              <a:gd name="connsiteX57" fmla="*/ 2143125 w 3324225"/>
              <a:gd name="connsiteY57" fmla="*/ 3419475 h 3952875"/>
              <a:gd name="connsiteX58" fmla="*/ 2190750 w 3324225"/>
              <a:gd name="connsiteY58" fmla="*/ 3457575 h 3952875"/>
              <a:gd name="connsiteX59" fmla="*/ 2238375 w 3324225"/>
              <a:gd name="connsiteY59" fmla="*/ 3486150 h 3952875"/>
              <a:gd name="connsiteX60" fmla="*/ 2295525 w 3324225"/>
              <a:gd name="connsiteY60" fmla="*/ 3533775 h 3952875"/>
              <a:gd name="connsiteX61" fmla="*/ 2352675 w 3324225"/>
              <a:gd name="connsiteY61" fmla="*/ 3562350 h 3952875"/>
              <a:gd name="connsiteX62" fmla="*/ 2447925 w 3324225"/>
              <a:gd name="connsiteY62" fmla="*/ 3619500 h 3952875"/>
              <a:gd name="connsiteX63" fmla="*/ 2514600 w 3324225"/>
              <a:gd name="connsiteY63" fmla="*/ 3657600 h 3952875"/>
              <a:gd name="connsiteX64" fmla="*/ 2571750 w 3324225"/>
              <a:gd name="connsiteY64" fmla="*/ 3676650 h 3952875"/>
              <a:gd name="connsiteX65" fmla="*/ 2647950 w 3324225"/>
              <a:gd name="connsiteY65" fmla="*/ 3724275 h 3952875"/>
              <a:gd name="connsiteX66" fmla="*/ 2781300 w 3324225"/>
              <a:gd name="connsiteY66" fmla="*/ 3771900 h 3952875"/>
              <a:gd name="connsiteX67" fmla="*/ 2847975 w 3324225"/>
              <a:gd name="connsiteY67" fmla="*/ 3800475 h 3952875"/>
              <a:gd name="connsiteX68" fmla="*/ 2895600 w 3324225"/>
              <a:gd name="connsiteY68" fmla="*/ 3810000 h 3952875"/>
              <a:gd name="connsiteX69" fmla="*/ 2952750 w 3324225"/>
              <a:gd name="connsiteY69" fmla="*/ 3829050 h 3952875"/>
              <a:gd name="connsiteX70" fmla="*/ 3000375 w 3324225"/>
              <a:gd name="connsiteY70" fmla="*/ 3838575 h 3952875"/>
              <a:gd name="connsiteX71" fmla="*/ 3105150 w 3324225"/>
              <a:gd name="connsiteY71" fmla="*/ 3876675 h 3952875"/>
              <a:gd name="connsiteX72" fmla="*/ 3152775 w 3324225"/>
              <a:gd name="connsiteY72" fmla="*/ 3886200 h 3952875"/>
              <a:gd name="connsiteX73" fmla="*/ 3181350 w 3324225"/>
              <a:gd name="connsiteY73" fmla="*/ 3905250 h 3952875"/>
              <a:gd name="connsiteX74" fmla="*/ 3314700 w 3324225"/>
              <a:gd name="connsiteY74" fmla="*/ 3952875 h 3952875"/>
              <a:gd name="connsiteX75" fmla="*/ 3324225 w 3324225"/>
              <a:gd name="connsiteY75" fmla="*/ 3895725 h 3952875"/>
              <a:gd name="connsiteX0" fmla="*/ 142875 w 3314700"/>
              <a:gd name="connsiteY0" fmla="*/ 76200 h 3952875"/>
              <a:gd name="connsiteX1" fmla="*/ 0 w 3314700"/>
              <a:gd name="connsiteY1" fmla="*/ 0 h 3952875"/>
              <a:gd name="connsiteX2" fmla="*/ 47625 w 3314700"/>
              <a:gd name="connsiteY2" fmla="*/ 95250 h 3952875"/>
              <a:gd name="connsiteX3" fmla="*/ 133350 w 3314700"/>
              <a:gd name="connsiteY3" fmla="*/ 200025 h 3952875"/>
              <a:gd name="connsiteX4" fmla="*/ 180975 w 3314700"/>
              <a:gd name="connsiteY4" fmla="*/ 257175 h 3952875"/>
              <a:gd name="connsiteX5" fmla="*/ 209550 w 3314700"/>
              <a:gd name="connsiteY5" fmla="*/ 295275 h 3952875"/>
              <a:gd name="connsiteX6" fmla="*/ 238125 w 3314700"/>
              <a:gd name="connsiteY6" fmla="*/ 323850 h 3952875"/>
              <a:gd name="connsiteX7" fmla="*/ 257175 w 3314700"/>
              <a:gd name="connsiteY7" fmla="*/ 352425 h 3952875"/>
              <a:gd name="connsiteX8" fmla="*/ 333375 w 3314700"/>
              <a:gd name="connsiteY8" fmla="*/ 438150 h 3952875"/>
              <a:gd name="connsiteX9" fmla="*/ 371475 w 3314700"/>
              <a:gd name="connsiteY9" fmla="*/ 504825 h 3952875"/>
              <a:gd name="connsiteX10" fmla="*/ 390525 w 3314700"/>
              <a:gd name="connsiteY10" fmla="*/ 542925 h 3952875"/>
              <a:gd name="connsiteX11" fmla="*/ 438150 w 3314700"/>
              <a:gd name="connsiteY11" fmla="*/ 609600 h 3952875"/>
              <a:gd name="connsiteX12" fmla="*/ 457200 w 3314700"/>
              <a:gd name="connsiteY12" fmla="*/ 666750 h 3952875"/>
              <a:gd name="connsiteX13" fmla="*/ 466725 w 3314700"/>
              <a:gd name="connsiteY13" fmla="*/ 695325 h 3952875"/>
              <a:gd name="connsiteX14" fmla="*/ 485775 w 3314700"/>
              <a:gd name="connsiteY14" fmla="*/ 771525 h 3952875"/>
              <a:gd name="connsiteX15" fmla="*/ 504825 w 3314700"/>
              <a:gd name="connsiteY15" fmla="*/ 847725 h 3952875"/>
              <a:gd name="connsiteX16" fmla="*/ 514350 w 3314700"/>
              <a:gd name="connsiteY16" fmla="*/ 981075 h 3952875"/>
              <a:gd name="connsiteX17" fmla="*/ 523875 w 3314700"/>
              <a:gd name="connsiteY17" fmla="*/ 1009650 h 3952875"/>
              <a:gd name="connsiteX18" fmla="*/ 533400 w 3314700"/>
              <a:gd name="connsiteY18" fmla="*/ 1076325 h 3952875"/>
              <a:gd name="connsiteX19" fmla="*/ 552450 w 3314700"/>
              <a:gd name="connsiteY19" fmla="*/ 1114425 h 3952875"/>
              <a:gd name="connsiteX20" fmla="*/ 619125 w 3314700"/>
              <a:gd name="connsiteY20" fmla="*/ 1190625 h 3952875"/>
              <a:gd name="connsiteX21" fmla="*/ 666750 w 3314700"/>
              <a:gd name="connsiteY21" fmla="*/ 1238250 h 3952875"/>
              <a:gd name="connsiteX22" fmla="*/ 723900 w 3314700"/>
              <a:gd name="connsiteY22" fmla="*/ 1295400 h 3952875"/>
              <a:gd name="connsiteX23" fmla="*/ 752475 w 3314700"/>
              <a:gd name="connsiteY23" fmla="*/ 1314450 h 3952875"/>
              <a:gd name="connsiteX24" fmla="*/ 800100 w 3314700"/>
              <a:gd name="connsiteY24" fmla="*/ 1371600 h 3952875"/>
              <a:gd name="connsiteX25" fmla="*/ 828675 w 3314700"/>
              <a:gd name="connsiteY25" fmla="*/ 1390650 h 3952875"/>
              <a:gd name="connsiteX26" fmla="*/ 876300 w 3314700"/>
              <a:gd name="connsiteY26" fmla="*/ 1457325 h 3952875"/>
              <a:gd name="connsiteX27" fmla="*/ 933450 w 3314700"/>
              <a:gd name="connsiteY27" fmla="*/ 1514475 h 3952875"/>
              <a:gd name="connsiteX28" fmla="*/ 990600 w 3314700"/>
              <a:gd name="connsiteY28" fmla="*/ 1609725 h 3952875"/>
              <a:gd name="connsiteX29" fmla="*/ 1009650 w 3314700"/>
              <a:gd name="connsiteY29" fmla="*/ 1666875 h 3952875"/>
              <a:gd name="connsiteX30" fmla="*/ 1019175 w 3314700"/>
              <a:gd name="connsiteY30" fmla="*/ 1695450 h 3952875"/>
              <a:gd name="connsiteX31" fmla="*/ 1028700 w 3314700"/>
              <a:gd name="connsiteY31" fmla="*/ 1724025 h 3952875"/>
              <a:gd name="connsiteX32" fmla="*/ 1047750 w 3314700"/>
              <a:gd name="connsiteY32" fmla="*/ 1762125 h 3952875"/>
              <a:gd name="connsiteX33" fmla="*/ 1057275 w 3314700"/>
              <a:gd name="connsiteY33" fmla="*/ 1790700 h 3952875"/>
              <a:gd name="connsiteX34" fmla="*/ 1076325 w 3314700"/>
              <a:gd name="connsiteY34" fmla="*/ 1819275 h 3952875"/>
              <a:gd name="connsiteX35" fmla="*/ 1095375 w 3314700"/>
              <a:gd name="connsiteY35" fmla="*/ 1857375 h 3952875"/>
              <a:gd name="connsiteX36" fmla="*/ 1181100 w 3314700"/>
              <a:gd name="connsiteY36" fmla="*/ 1962150 h 3952875"/>
              <a:gd name="connsiteX37" fmla="*/ 1209675 w 3314700"/>
              <a:gd name="connsiteY37" fmla="*/ 2190750 h 3952875"/>
              <a:gd name="connsiteX38" fmla="*/ 1219200 w 3314700"/>
              <a:gd name="connsiteY38" fmla="*/ 2533650 h 3952875"/>
              <a:gd name="connsiteX39" fmla="*/ 1238250 w 3314700"/>
              <a:gd name="connsiteY39" fmla="*/ 2562225 h 3952875"/>
              <a:gd name="connsiteX40" fmla="*/ 1247775 w 3314700"/>
              <a:gd name="connsiteY40" fmla="*/ 2590800 h 3952875"/>
              <a:gd name="connsiteX41" fmla="*/ 1295400 w 3314700"/>
              <a:gd name="connsiteY41" fmla="*/ 2647950 h 3952875"/>
              <a:gd name="connsiteX42" fmla="*/ 1323975 w 3314700"/>
              <a:gd name="connsiteY42" fmla="*/ 2714625 h 3952875"/>
              <a:gd name="connsiteX43" fmla="*/ 1352550 w 3314700"/>
              <a:gd name="connsiteY43" fmla="*/ 2752725 h 3952875"/>
              <a:gd name="connsiteX44" fmla="*/ 1390650 w 3314700"/>
              <a:gd name="connsiteY44" fmla="*/ 2809875 h 3952875"/>
              <a:gd name="connsiteX45" fmla="*/ 1409700 w 3314700"/>
              <a:gd name="connsiteY45" fmla="*/ 2838450 h 3952875"/>
              <a:gd name="connsiteX46" fmla="*/ 1438275 w 3314700"/>
              <a:gd name="connsiteY46" fmla="*/ 2876550 h 3952875"/>
              <a:gd name="connsiteX47" fmla="*/ 1495425 w 3314700"/>
              <a:gd name="connsiteY47" fmla="*/ 2933700 h 3952875"/>
              <a:gd name="connsiteX48" fmla="*/ 1524000 w 3314700"/>
              <a:gd name="connsiteY48" fmla="*/ 2962275 h 3952875"/>
              <a:gd name="connsiteX49" fmla="*/ 1581150 w 3314700"/>
              <a:gd name="connsiteY49" fmla="*/ 3009900 h 3952875"/>
              <a:gd name="connsiteX50" fmla="*/ 1619250 w 3314700"/>
              <a:gd name="connsiteY50" fmla="*/ 3038475 h 3952875"/>
              <a:gd name="connsiteX51" fmla="*/ 1676400 w 3314700"/>
              <a:gd name="connsiteY51" fmla="*/ 3095625 h 3952875"/>
              <a:gd name="connsiteX52" fmla="*/ 1790700 w 3314700"/>
              <a:gd name="connsiteY52" fmla="*/ 3181350 h 3952875"/>
              <a:gd name="connsiteX53" fmla="*/ 1857375 w 3314700"/>
              <a:gd name="connsiteY53" fmla="*/ 3228975 h 3952875"/>
              <a:gd name="connsiteX54" fmla="*/ 1962150 w 3314700"/>
              <a:gd name="connsiteY54" fmla="*/ 3295650 h 3952875"/>
              <a:gd name="connsiteX55" fmla="*/ 2057400 w 3314700"/>
              <a:gd name="connsiteY55" fmla="*/ 3371850 h 3952875"/>
              <a:gd name="connsiteX56" fmla="*/ 2095500 w 3314700"/>
              <a:gd name="connsiteY56" fmla="*/ 3390900 h 3952875"/>
              <a:gd name="connsiteX57" fmla="*/ 2143125 w 3314700"/>
              <a:gd name="connsiteY57" fmla="*/ 3419475 h 3952875"/>
              <a:gd name="connsiteX58" fmla="*/ 2190750 w 3314700"/>
              <a:gd name="connsiteY58" fmla="*/ 3457575 h 3952875"/>
              <a:gd name="connsiteX59" fmla="*/ 2238375 w 3314700"/>
              <a:gd name="connsiteY59" fmla="*/ 3486150 h 3952875"/>
              <a:gd name="connsiteX60" fmla="*/ 2295525 w 3314700"/>
              <a:gd name="connsiteY60" fmla="*/ 3533775 h 3952875"/>
              <a:gd name="connsiteX61" fmla="*/ 2352675 w 3314700"/>
              <a:gd name="connsiteY61" fmla="*/ 3562350 h 3952875"/>
              <a:gd name="connsiteX62" fmla="*/ 2447925 w 3314700"/>
              <a:gd name="connsiteY62" fmla="*/ 3619500 h 3952875"/>
              <a:gd name="connsiteX63" fmla="*/ 2514600 w 3314700"/>
              <a:gd name="connsiteY63" fmla="*/ 3657600 h 3952875"/>
              <a:gd name="connsiteX64" fmla="*/ 2571750 w 3314700"/>
              <a:gd name="connsiteY64" fmla="*/ 3676650 h 3952875"/>
              <a:gd name="connsiteX65" fmla="*/ 2647950 w 3314700"/>
              <a:gd name="connsiteY65" fmla="*/ 3724275 h 3952875"/>
              <a:gd name="connsiteX66" fmla="*/ 2781300 w 3314700"/>
              <a:gd name="connsiteY66" fmla="*/ 3771900 h 3952875"/>
              <a:gd name="connsiteX67" fmla="*/ 2847975 w 3314700"/>
              <a:gd name="connsiteY67" fmla="*/ 3800475 h 3952875"/>
              <a:gd name="connsiteX68" fmla="*/ 2895600 w 3314700"/>
              <a:gd name="connsiteY68" fmla="*/ 3810000 h 3952875"/>
              <a:gd name="connsiteX69" fmla="*/ 2952750 w 3314700"/>
              <a:gd name="connsiteY69" fmla="*/ 3829050 h 3952875"/>
              <a:gd name="connsiteX70" fmla="*/ 3000375 w 3314700"/>
              <a:gd name="connsiteY70" fmla="*/ 3838575 h 3952875"/>
              <a:gd name="connsiteX71" fmla="*/ 3105150 w 3314700"/>
              <a:gd name="connsiteY71" fmla="*/ 3876675 h 3952875"/>
              <a:gd name="connsiteX72" fmla="*/ 3152775 w 3314700"/>
              <a:gd name="connsiteY72" fmla="*/ 3886200 h 3952875"/>
              <a:gd name="connsiteX73" fmla="*/ 3181350 w 3314700"/>
              <a:gd name="connsiteY73" fmla="*/ 3905250 h 3952875"/>
              <a:gd name="connsiteX74" fmla="*/ 3314700 w 3314700"/>
              <a:gd name="connsiteY74" fmla="*/ 3952875 h 3952875"/>
              <a:gd name="connsiteX0" fmla="*/ 142875 w 3181350"/>
              <a:gd name="connsiteY0" fmla="*/ 76200 h 3905250"/>
              <a:gd name="connsiteX1" fmla="*/ 0 w 3181350"/>
              <a:gd name="connsiteY1" fmla="*/ 0 h 3905250"/>
              <a:gd name="connsiteX2" fmla="*/ 47625 w 3181350"/>
              <a:gd name="connsiteY2" fmla="*/ 95250 h 3905250"/>
              <a:gd name="connsiteX3" fmla="*/ 133350 w 3181350"/>
              <a:gd name="connsiteY3" fmla="*/ 200025 h 3905250"/>
              <a:gd name="connsiteX4" fmla="*/ 180975 w 3181350"/>
              <a:gd name="connsiteY4" fmla="*/ 257175 h 3905250"/>
              <a:gd name="connsiteX5" fmla="*/ 209550 w 3181350"/>
              <a:gd name="connsiteY5" fmla="*/ 295275 h 3905250"/>
              <a:gd name="connsiteX6" fmla="*/ 238125 w 3181350"/>
              <a:gd name="connsiteY6" fmla="*/ 323850 h 3905250"/>
              <a:gd name="connsiteX7" fmla="*/ 257175 w 3181350"/>
              <a:gd name="connsiteY7" fmla="*/ 352425 h 3905250"/>
              <a:gd name="connsiteX8" fmla="*/ 333375 w 3181350"/>
              <a:gd name="connsiteY8" fmla="*/ 438150 h 3905250"/>
              <a:gd name="connsiteX9" fmla="*/ 371475 w 3181350"/>
              <a:gd name="connsiteY9" fmla="*/ 504825 h 3905250"/>
              <a:gd name="connsiteX10" fmla="*/ 390525 w 3181350"/>
              <a:gd name="connsiteY10" fmla="*/ 542925 h 3905250"/>
              <a:gd name="connsiteX11" fmla="*/ 438150 w 3181350"/>
              <a:gd name="connsiteY11" fmla="*/ 609600 h 3905250"/>
              <a:gd name="connsiteX12" fmla="*/ 457200 w 3181350"/>
              <a:gd name="connsiteY12" fmla="*/ 666750 h 3905250"/>
              <a:gd name="connsiteX13" fmla="*/ 466725 w 3181350"/>
              <a:gd name="connsiteY13" fmla="*/ 695325 h 3905250"/>
              <a:gd name="connsiteX14" fmla="*/ 485775 w 3181350"/>
              <a:gd name="connsiteY14" fmla="*/ 771525 h 3905250"/>
              <a:gd name="connsiteX15" fmla="*/ 504825 w 3181350"/>
              <a:gd name="connsiteY15" fmla="*/ 847725 h 3905250"/>
              <a:gd name="connsiteX16" fmla="*/ 514350 w 3181350"/>
              <a:gd name="connsiteY16" fmla="*/ 981075 h 3905250"/>
              <a:gd name="connsiteX17" fmla="*/ 523875 w 3181350"/>
              <a:gd name="connsiteY17" fmla="*/ 1009650 h 3905250"/>
              <a:gd name="connsiteX18" fmla="*/ 533400 w 3181350"/>
              <a:gd name="connsiteY18" fmla="*/ 1076325 h 3905250"/>
              <a:gd name="connsiteX19" fmla="*/ 552450 w 3181350"/>
              <a:gd name="connsiteY19" fmla="*/ 1114425 h 3905250"/>
              <a:gd name="connsiteX20" fmla="*/ 619125 w 3181350"/>
              <a:gd name="connsiteY20" fmla="*/ 1190625 h 3905250"/>
              <a:gd name="connsiteX21" fmla="*/ 666750 w 3181350"/>
              <a:gd name="connsiteY21" fmla="*/ 1238250 h 3905250"/>
              <a:gd name="connsiteX22" fmla="*/ 723900 w 3181350"/>
              <a:gd name="connsiteY22" fmla="*/ 1295400 h 3905250"/>
              <a:gd name="connsiteX23" fmla="*/ 752475 w 3181350"/>
              <a:gd name="connsiteY23" fmla="*/ 1314450 h 3905250"/>
              <a:gd name="connsiteX24" fmla="*/ 800100 w 3181350"/>
              <a:gd name="connsiteY24" fmla="*/ 1371600 h 3905250"/>
              <a:gd name="connsiteX25" fmla="*/ 828675 w 3181350"/>
              <a:gd name="connsiteY25" fmla="*/ 1390650 h 3905250"/>
              <a:gd name="connsiteX26" fmla="*/ 876300 w 3181350"/>
              <a:gd name="connsiteY26" fmla="*/ 1457325 h 3905250"/>
              <a:gd name="connsiteX27" fmla="*/ 933450 w 3181350"/>
              <a:gd name="connsiteY27" fmla="*/ 1514475 h 3905250"/>
              <a:gd name="connsiteX28" fmla="*/ 990600 w 3181350"/>
              <a:gd name="connsiteY28" fmla="*/ 1609725 h 3905250"/>
              <a:gd name="connsiteX29" fmla="*/ 1009650 w 3181350"/>
              <a:gd name="connsiteY29" fmla="*/ 1666875 h 3905250"/>
              <a:gd name="connsiteX30" fmla="*/ 1019175 w 3181350"/>
              <a:gd name="connsiteY30" fmla="*/ 1695450 h 3905250"/>
              <a:gd name="connsiteX31" fmla="*/ 1028700 w 3181350"/>
              <a:gd name="connsiteY31" fmla="*/ 1724025 h 3905250"/>
              <a:gd name="connsiteX32" fmla="*/ 1047750 w 3181350"/>
              <a:gd name="connsiteY32" fmla="*/ 1762125 h 3905250"/>
              <a:gd name="connsiteX33" fmla="*/ 1057275 w 3181350"/>
              <a:gd name="connsiteY33" fmla="*/ 1790700 h 3905250"/>
              <a:gd name="connsiteX34" fmla="*/ 1076325 w 3181350"/>
              <a:gd name="connsiteY34" fmla="*/ 1819275 h 3905250"/>
              <a:gd name="connsiteX35" fmla="*/ 1095375 w 3181350"/>
              <a:gd name="connsiteY35" fmla="*/ 1857375 h 3905250"/>
              <a:gd name="connsiteX36" fmla="*/ 1181100 w 3181350"/>
              <a:gd name="connsiteY36" fmla="*/ 1962150 h 3905250"/>
              <a:gd name="connsiteX37" fmla="*/ 1209675 w 3181350"/>
              <a:gd name="connsiteY37" fmla="*/ 2190750 h 3905250"/>
              <a:gd name="connsiteX38" fmla="*/ 1219200 w 3181350"/>
              <a:gd name="connsiteY38" fmla="*/ 2533650 h 3905250"/>
              <a:gd name="connsiteX39" fmla="*/ 1238250 w 3181350"/>
              <a:gd name="connsiteY39" fmla="*/ 2562225 h 3905250"/>
              <a:gd name="connsiteX40" fmla="*/ 1247775 w 3181350"/>
              <a:gd name="connsiteY40" fmla="*/ 2590800 h 3905250"/>
              <a:gd name="connsiteX41" fmla="*/ 1295400 w 3181350"/>
              <a:gd name="connsiteY41" fmla="*/ 2647950 h 3905250"/>
              <a:gd name="connsiteX42" fmla="*/ 1323975 w 3181350"/>
              <a:gd name="connsiteY42" fmla="*/ 2714625 h 3905250"/>
              <a:gd name="connsiteX43" fmla="*/ 1352550 w 3181350"/>
              <a:gd name="connsiteY43" fmla="*/ 2752725 h 3905250"/>
              <a:gd name="connsiteX44" fmla="*/ 1390650 w 3181350"/>
              <a:gd name="connsiteY44" fmla="*/ 2809875 h 3905250"/>
              <a:gd name="connsiteX45" fmla="*/ 1409700 w 3181350"/>
              <a:gd name="connsiteY45" fmla="*/ 2838450 h 3905250"/>
              <a:gd name="connsiteX46" fmla="*/ 1438275 w 3181350"/>
              <a:gd name="connsiteY46" fmla="*/ 2876550 h 3905250"/>
              <a:gd name="connsiteX47" fmla="*/ 1495425 w 3181350"/>
              <a:gd name="connsiteY47" fmla="*/ 2933700 h 3905250"/>
              <a:gd name="connsiteX48" fmla="*/ 1524000 w 3181350"/>
              <a:gd name="connsiteY48" fmla="*/ 2962275 h 3905250"/>
              <a:gd name="connsiteX49" fmla="*/ 1581150 w 3181350"/>
              <a:gd name="connsiteY49" fmla="*/ 3009900 h 3905250"/>
              <a:gd name="connsiteX50" fmla="*/ 1619250 w 3181350"/>
              <a:gd name="connsiteY50" fmla="*/ 3038475 h 3905250"/>
              <a:gd name="connsiteX51" fmla="*/ 1676400 w 3181350"/>
              <a:gd name="connsiteY51" fmla="*/ 3095625 h 3905250"/>
              <a:gd name="connsiteX52" fmla="*/ 1790700 w 3181350"/>
              <a:gd name="connsiteY52" fmla="*/ 3181350 h 3905250"/>
              <a:gd name="connsiteX53" fmla="*/ 1857375 w 3181350"/>
              <a:gd name="connsiteY53" fmla="*/ 3228975 h 3905250"/>
              <a:gd name="connsiteX54" fmla="*/ 1962150 w 3181350"/>
              <a:gd name="connsiteY54" fmla="*/ 3295650 h 3905250"/>
              <a:gd name="connsiteX55" fmla="*/ 2057400 w 3181350"/>
              <a:gd name="connsiteY55" fmla="*/ 3371850 h 3905250"/>
              <a:gd name="connsiteX56" fmla="*/ 2095500 w 3181350"/>
              <a:gd name="connsiteY56" fmla="*/ 3390900 h 3905250"/>
              <a:gd name="connsiteX57" fmla="*/ 2143125 w 3181350"/>
              <a:gd name="connsiteY57" fmla="*/ 3419475 h 3905250"/>
              <a:gd name="connsiteX58" fmla="*/ 2190750 w 3181350"/>
              <a:gd name="connsiteY58" fmla="*/ 3457575 h 3905250"/>
              <a:gd name="connsiteX59" fmla="*/ 2238375 w 3181350"/>
              <a:gd name="connsiteY59" fmla="*/ 3486150 h 3905250"/>
              <a:gd name="connsiteX60" fmla="*/ 2295525 w 3181350"/>
              <a:gd name="connsiteY60" fmla="*/ 3533775 h 3905250"/>
              <a:gd name="connsiteX61" fmla="*/ 2352675 w 3181350"/>
              <a:gd name="connsiteY61" fmla="*/ 3562350 h 3905250"/>
              <a:gd name="connsiteX62" fmla="*/ 2447925 w 3181350"/>
              <a:gd name="connsiteY62" fmla="*/ 3619500 h 3905250"/>
              <a:gd name="connsiteX63" fmla="*/ 2514600 w 3181350"/>
              <a:gd name="connsiteY63" fmla="*/ 3657600 h 3905250"/>
              <a:gd name="connsiteX64" fmla="*/ 2571750 w 3181350"/>
              <a:gd name="connsiteY64" fmla="*/ 3676650 h 3905250"/>
              <a:gd name="connsiteX65" fmla="*/ 2647950 w 3181350"/>
              <a:gd name="connsiteY65" fmla="*/ 3724275 h 3905250"/>
              <a:gd name="connsiteX66" fmla="*/ 2781300 w 3181350"/>
              <a:gd name="connsiteY66" fmla="*/ 3771900 h 3905250"/>
              <a:gd name="connsiteX67" fmla="*/ 2847975 w 3181350"/>
              <a:gd name="connsiteY67" fmla="*/ 3800475 h 3905250"/>
              <a:gd name="connsiteX68" fmla="*/ 2895600 w 3181350"/>
              <a:gd name="connsiteY68" fmla="*/ 3810000 h 3905250"/>
              <a:gd name="connsiteX69" fmla="*/ 2952750 w 3181350"/>
              <a:gd name="connsiteY69" fmla="*/ 3829050 h 3905250"/>
              <a:gd name="connsiteX70" fmla="*/ 3000375 w 3181350"/>
              <a:gd name="connsiteY70" fmla="*/ 3838575 h 3905250"/>
              <a:gd name="connsiteX71" fmla="*/ 3105150 w 3181350"/>
              <a:gd name="connsiteY71" fmla="*/ 3876675 h 3905250"/>
              <a:gd name="connsiteX72" fmla="*/ 3152775 w 3181350"/>
              <a:gd name="connsiteY72" fmla="*/ 3886200 h 3905250"/>
              <a:gd name="connsiteX73" fmla="*/ 3181350 w 3181350"/>
              <a:gd name="connsiteY73" fmla="*/ 3905250 h 3905250"/>
              <a:gd name="connsiteX0" fmla="*/ 0 w 3181350"/>
              <a:gd name="connsiteY0" fmla="*/ 0 h 3905250"/>
              <a:gd name="connsiteX1" fmla="*/ 47625 w 3181350"/>
              <a:gd name="connsiteY1" fmla="*/ 95250 h 3905250"/>
              <a:gd name="connsiteX2" fmla="*/ 133350 w 3181350"/>
              <a:gd name="connsiteY2" fmla="*/ 200025 h 3905250"/>
              <a:gd name="connsiteX3" fmla="*/ 180975 w 3181350"/>
              <a:gd name="connsiteY3" fmla="*/ 257175 h 3905250"/>
              <a:gd name="connsiteX4" fmla="*/ 209550 w 3181350"/>
              <a:gd name="connsiteY4" fmla="*/ 295275 h 3905250"/>
              <a:gd name="connsiteX5" fmla="*/ 238125 w 3181350"/>
              <a:gd name="connsiteY5" fmla="*/ 323850 h 3905250"/>
              <a:gd name="connsiteX6" fmla="*/ 257175 w 3181350"/>
              <a:gd name="connsiteY6" fmla="*/ 352425 h 3905250"/>
              <a:gd name="connsiteX7" fmla="*/ 333375 w 3181350"/>
              <a:gd name="connsiteY7" fmla="*/ 438150 h 3905250"/>
              <a:gd name="connsiteX8" fmla="*/ 371475 w 3181350"/>
              <a:gd name="connsiteY8" fmla="*/ 504825 h 3905250"/>
              <a:gd name="connsiteX9" fmla="*/ 390525 w 3181350"/>
              <a:gd name="connsiteY9" fmla="*/ 542925 h 3905250"/>
              <a:gd name="connsiteX10" fmla="*/ 438150 w 3181350"/>
              <a:gd name="connsiteY10" fmla="*/ 609600 h 3905250"/>
              <a:gd name="connsiteX11" fmla="*/ 457200 w 3181350"/>
              <a:gd name="connsiteY11" fmla="*/ 666750 h 3905250"/>
              <a:gd name="connsiteX12" fmla="*/ 466725 w 3181350"/>
              <a:gd name="connsiteY12" fmla="*/ 695325 h 3905250"/>
              <a:gd name="connsiteX13" fmla="*/ 485775 w 3181350"/>
              <a:gd name="connsiteY13" fmla="*/ 771525 h 3905250"/>
              <a:gd name="connsiteX14" fmla="*/ 504825 w 3181350"/>
              <a:gd name="connsiteY14" fmla="*/ 847725 h 3905250"/>
              <a:gd name="connsiteX15" fmla="*/ 514350 w 3181350"/>
              <a:gd name="connsiteY15" fmla="*/ 981075 h 3905250"/>
              <a:gd name="connsiteX16" fmla="*/ 523875 w 3181350"/>
              <a:gd name="connsiteY16" fmla="*/ 1009650 h 3905250"/>
              <a:gd name="connsiteX17" fmla="*/ 533400 w 3181350"/>
              <a:gd name="connsiteY17" fmla="*/ 1076325 h 3905250"/>
              <a:gd name="connsiteX18" fmla="*/ 552450 w 3181350"/>
              <a:gd name="connsiteY18" fmla="*/ 1114425 h 3905250"/>
              <a:gd name="connsiteX19" fmla="*/ 619125 w 3181350"/>
              <a:gd name="connsiteY19" fmla="*/ 1190625 h 3905250"/>
              <a:gd name="connsiteX20" fmla="*/ 666750 w 3181350"/>
              <a:gd name="connsiteY20" fmla="*/ 1238250 h 3905250"/>
              <a:gd name="connsiteX21" fmla="*/ 723900 w 3181350"/>
              <a:gd name="connsiteY21" fmla="*/ 1295400 h 3905250"/>
              <a:gd name="connsiteX22" fmla="*/ 752475 w 3181350"/>
              <a:gd name="connsiteY22" fmla="*/ 1314450 h 3905250"/>
              <a:gd name="connsiteX23" fmla="*/ 800100 w 3181350"/>
              <a:gd name="connsiteY23" fmla="*/ 1371600 h 3905250"/>
              <a:gd name="connsiteX24" fmla="*/ 828675 w 3181350"/>
              <a:gd name="connsiteY24" fmla="*/ 1390650 h 3905250"/>
              <a:gd name="connsiteX25" fmla="*/ 876300 w 3181350"/>
              <a:gd name="connsiteY25" fmla="*/ 1457325 h 3905250"/>
              <a:gd name="connsiteX26" fmla="*/ 933450 w 3181350"/>
              <a:gd name="connsiteY26" fmla="*/ 1514475 h 3905250"/>
              <a:gd name="connsiteX27" fmla="*/ 990600 w 3181350"/>
              <a:gd name="connsiteY27" fmla="*/ 1609725 h 3905250"/>
              <a:gd name="connsiteX28" fmla="*/ 1009650 w 3181350"/>
              <a:gd name="connsiteY28" fmla="*/ 1666875 h 3905250"/>
              <a:gd name="connsiteX29" fmla="*/ 1019175 w 3181350"/>
              <a:gd name="connsiteY29" fmla="*/ 1695450 h 3905250"/>
              <a:gd name="connsiteX30" fmla="*/ 1028700 w 3181350"/>
              <a:gd name="connsiteY30" fmla="*/ 1724025 h 3905250"/>
              <a:gd name="connsiteX31" fmla="*/ 1047750 w 3181350"/>
              <a:gd name="connsiteY31" fmla="*/ 1762125 h 3905250"/>
              <a:gd name="connsiteX32" fmla="*/ 1057275 w 3181350"/>
              <a:gd name="connsiteY32" fmla="*/ 1790700 h 3905250"/>
              <a:gd name="connsiteX33" fmla="*/ 1076325 w 3181350"/>
              <a:gd name="connsiteY33" fmla="*/ 1819275 h 3905250"/>
              <a:gd name="connsiteX34" fmla="*/ 1095375 w 3181350"/>
              <a:gd name="connsiteY34" fmla="*/ 1857375 h 3905250"/>
              <a:gd name="connsiteX35" fmla="*/ 1181100 w 3181350"/>
              <a:gd name="connsiteY35" fmla="*/ 1962150 h 3905250"/>
              <a:gd name="connsiteX36" fmla="*/ 1209675 w 3181350"/>
              <a:gd name="connsiteY36" fmla="*/ 2190750 h 3905250"/>
              <a:gd name="connsiteX37" fmla="*/ 1219200 w 3181350"/>
              <a:gd name="connsiteY37" fmla="*/ 2533650 h 3905250"/>
              <a:gd name="connsiteX38" fmla="*/ 1238250 w 3181350"/>
              <a:gd name="connsiteY38" fmla="*/ 2562225 h 3905250"/>
              <a:gd name="connsiteX39" fmla="*/ 1247775 w 3181350"/>
              <a:gd name="connsiteY39" fmla="*/ 2590800 h 3905250"/>
              <a:gd name="connsiteX40" fmla="*/ 1295400 w 3181350"/>
              <a:gd name="connsiteY40" fmla="*/ 2647950 h 3905250"/>
              <a:gd name="connsiteX41" fmla="*/ 1323975 w 3181350"/>
              <a:gd name="connsiteY41" fmla="*/ 2714625 h 3905250"/>
              <a:gd name="connsiteX42" fmla="*/ 1352550 w 3181350"/>
              <a:gd name="connsiteY42" fmla="*/ 2752725 h 3905250"/>
              <a:gd name="connsiteX43" fmla="*/ 1390650 w 3181350"/>
              <a:gd name="connsiteY43" fmla="*/ 2809875 h 3905250"/>
              <a:gd name="connsiteX44" fmla="*/ 1409700 w 3181350"/>
              <a:gd name="connsiteY44" fmla="*/ 2838450 h 3905250"/>
              <a:gd name="connsiteX45" fmla="*/ 1438275 w 3181350"/>
              <a:gd name="connsiteY45" fmla="*/ 2876550 h 3905250"/>
              <a:gd name="connsiteX46" fmla="*/ 1495425 w 3181350"/>
              <a:gd name="connsiteY46" fmla="*/ 2933700 h 3905250"/>
              <a:gd name="connsiteX47" fmla="*/ 1524000 w 3181350"/>
              <a:gd name="connsiteY47" fmla="*/ 2962275 h 3905250"/>
              <a:gd name="connsiteX48" fmla="*/ 1581150 w 3181350"/>
              <a:gd name="connsiteY48" fmla="*/ 3009900 h 3905250"/>
              <a:gd name="connsiteX49" fmla="*/ 1619250 w 3181350"/>
              <a:gd name="connsiteY49" fmla="*/ 3038475 h 3905250"/>
              <a:gd name="connsiteX50" fmla="*/ 1676400 w 3181350"/>
              <a:gd name="connsiteY50" fmla="*/ 3095625 h 3905250"/>
              <a:gd name="connsiteX51" fmla="*/ 1790700 w 3181350"/>
              <a:gd name="connsiteY51" fmla="*/ 3181350 h 3905250"/>
              <a:gd name="connsiteX52" fmla="*/ 1857375 w 3181350"/>
              <a:gd name="connsiteY52" fmla="*/ 3228975 h 3905250"/>
              <a:gd name="connsiteX53" fmla="*/ 1962150 w 3181350"/>
              <a:gd name="connsiteY53" fmla="*/ 3295650 h 3905250"/>
              <a:gd name="connsiteX54" fmla="*/ 2057400 w 3181350"/>
              <a:gd name="connsiteY54" fmla="*/ 3371850 h 3905250"/>
              <a:gd name="connsiteX55" fmla="*/ 2095500 w 3181350"/>
              <a:gd name="connsiteY55" fmla="*/ 3390900 h 3905250"/>
              <a:gd name="connsiteX56" fmla="*/ 2143125 w 3181350"/>
              <a:gd name="connsiteY56" fmla="*/ 3419475 h 3905250"/>
              <a:gd name="connsiteX57" fmla="*/ 2190750 w 3181350"/>
              <a:gd name="connsiteY57" fmla="*/ 3457575 h 3905250"/>
              <a:gd name="connsiteX58" fmla="*/ 2238375 w 3181350"/>
              <a:gd name="connsiteY58" fmla="*/ 3486150 h 3905250"/>
              <a:gd name="connsiteX59" fmla="*/ 2295525 w 3181350"/>
              <a:gd name="connsiteY59" fmla="*/ 3533775 h 3905250"/>
              <a:gd name="connsiteX60" fmla="*/ 2352675 w 3181350"/>
              <a:gd name="connsiteY60" fmla="*/ 3562350 h 3905250"/>
              <a:gd name="connsiteX61" fmla="*/ 2447925 w 3181350"/>
              <a:gd name="connsiteY61" fmla="*/ 3619500 h 3905250"/>
              <a:gd name="connsiteX62" fmla="*/ 2514600 w 3181350"/>
              <a:gd name="connsiteY62" fmla="*/ 3657600 h 3905250"/>
              <a:gd name="connsiteX63" fmla="*/ 2571750 w 3181350"/>
              <a:gd name="connsiteY63" fmla="*/ 3676650 h 3905250"/>
              <a:gd name="connsiteX64" fmla="*/ 2647950 w 3181350"/>
              <a:gd name="connsiteY64" fmla="*/ 3724275 h 3905250"/>
              <a:gd name="connsiteX65" fmla="*/ 2781300 w 3181350"/>
              <a:gd name="connsiteY65" fmla="*/ 3771900 h 3905250"/>
              <a:gd name="connsiteX66" fmla="*/ 2847975 w 3181350"/>
              <a:gd name="connsiteY66" fmla="*/ 3800475 h 3905250"/>
              <a:gd name="connsiteX67" fmla="*/ 2895600 w 3181350"/>
              <a:gd name="connsiteY67" fmla="*/ 3810000 h 3905250"/>
              <a:gd name="connsiteX68" fmla="*/ 2952750 w 3181350"/>
              <a:gd name="connsiteY68" fmla="*/ 3829050 h 3905250"/>
              <a:gd name="connsiteX69" fmla="*/ 3000375 w 3181350"/>
              <a:gd name="connsiteY69" fmla="*/ 3838575 h 3905250"/>
              <a:gd name="connsiteX70" fmla="*/ 3105150 w 3181350"/>
              <a:gd name="connsiteY70" fmla="*/ 3876675 h 3905250"/>
              <a:gd name="connsiteX71" fmla="*/ 3152775 w 3181350"/>
              <a:gd name="connsiteY71" fmla="*/ 3886200 h 3905250"/>
              <a:gd name="connsiteX72" fmla="*/ 3181350 w 3181350"/>
              <a:gd name="connsiteY72" fmla="*/ 3905250 h 3905250"/>
              <a:gd name="connsiteX0" fmla="*/ 0 w 3133725"/>
              <a:gd name="connsiteY0" fmla="*/ 0 h 3810000"/>
              <a:gd name="connsiteX1" fmla="*/ 85725 w 3133725"/>
              <a:gd name="connsiteY1" fmla="*/ 104775 h 3810000"/>
              <a:gd name="connsiteX2" fmla="*/ 133350 w 3133725"/>
              <a:gd name="connsiteY2" fmla="*/ 161925 h 3810000"/>
              <a:gd name="connsiteX3" fmla="*/ 161925 w 3133725"/>
              <a:gd name="connsiteY3" fmla="*/ 200025 h 3810000"/>
              <a:gd name="connsiteX4" fmla="*/ 190500 w 3133725"/>
              <a:gd name="connsiteY4" fmla="*/ 228600 h 3810000"/>
              <a:gd name="connsiteX5" fmla="*/ 209550 w 3133725"/>
              <a:gd name="connsiteY5" fmla="*/ 257175 h 3810000"/>
              <a:gd name="connsiteX6" fmla="*/ 285750 w 3133725"/>
              <a:gd name="connsiteY6" fmla="*/ 342900 h 3810000"/>
              <a:gd name="connsiteX7" fmla="*/ 323850 w 3133725"/>
              <a:gd name="connsiteY7" fmla="*/ 409575 h 3810000"/>
              <a:gd name="connsiteX8" fmla="*/ 342900 w 3133725"/>
              <a:gd name="connsiteY8" fmla="*/ 447675 h 3810000"/>
              <a:gd name="connsiteX9" fmla="*/ 390525 w 3133725"/>
              <a:gd name="connsiteY9" fmla="*/ 514350 h 3810000"/>
              <a:gd name="connsiteX10" fmla="*/ 409575 w 3133725"/>
              <a:gd name="connsiteY10" fmla="*/ 571500 h 3810000"/>
              <a:gd name="connsiteX11" fmla="*/ 419100 w 3133725"/>
              <a:gd name="connsiteY11" fmla="*/ 600075 h 3810000"/>
              <a:gd name="connsiteX12" fmla="*/ 438150 w 3133725"/>
              <a:gd name="connsiteY12" fmla="*/ 676275 h 3810000"/>
              <a:gd name="connsiteX13" fmla="*/ 457200 w 3133725"/>
              <a:gd name="connsiteY13" fmla="*/ 752475 h 3810000"/>
              <a:gd name="connsiteX14" fmla="*/ 466725 w 3133725"/>
              <a:gd name="connsiteY14" fmla="*/ 885825 h 3810000"/>
              <a:gd name="connsiteX15" fmla="*/ 476250 w 3133725"/>
              <a:gd name="connsiteY15" fmla="*/ 914400 h 3810000"/>
              <a:gd name="connsiteX16" fmla="*/ 485775 w 3133725"/>
              <a:gd name="connsiteY16" fmla="*/ 981075 h 3810000"/>
              <a:gd name="connsiteX17" fmla="*/ 504825 w 3133725"/>
              <a:gd name="connsiteY17" fmla="*/ 1019175 h 3810000"/>
              <a:gd name="connsiteX18" fmla="*/ 571500 w 3133725"/>
              <a:gd name="connsiteY18" fmla="*/ 1095375 h 3810000"/>
              <a:gd name="connsiteX19" fmla="*/ 619125 w 3133725"/>
              <a:gd name="connsiteY19" fmla="*/ 1143000 h 3810000"/>
              <a:gd name="connsiteX20" fmla="*/ 676275 w 3133725"/>
              <a:gd name="connsiteY20" fmla="*/ 1200150 h 3810000"/>
              <a:gd name="connsiteX21" fmla="*/ 704850 w 3133725"/>
              <a:gd name="connsiteY21" fmla="*/ 1219200 h 3810000"/>
              <a:gd name="connsiteX22" fmla="*/ 752475 w 3133725"/>
              <a:gd name="connsiteY22" fmla="*/ 1276350 h 3810000"/>
              <a:gd name="connsiteX23" fmla="*/ 781050 w 3133725"/>
              <a:gd name="connsiteY23" fmla="*/ 1295400 h 3810000"/>
              <a:gd name="connsiteX24" fmla="*/ 828675 w 3133725"/>
              <a:gd name="connsiteY24" fmla="*/ 1362075 h 3810000"/>
              <a:gd name="connsiteX25" fmla="*/ 885825 w 3133725"/>
              <a:gd name="connsiteY25" fmla="*/ 1419225 h 3810000"/>
              <a:gd name="connsiteX26" fmla="*/ 942975 w 3133725"/>
              <a:gd name="connsiteY26" fmla="*/ 1514475 h 3810000"/>
              <a:gd name="connsiteX27" fmla="*/ 962025 w 3133725"/>
              <a:gd name="connsiteY27" fmla="*/ 1571625 h 3810000"/>
              <a:gd name="connsiteX28" fmla="*/ 971550 w 3133725"/>
              <a:gd name="connsiteY28" fmla="*/ 1600200 h 3810000"/>
              <a:gd name="connsiteX29" fmla="*/ 981075 w 3133725"/>
              <a:gd name="connsiteY29" fmla="*/ 1628775 h 3810000"/>
              <a:gd name="connsiteX30" fmla="*/ 1000125 w 3133725"/>
              <a:gd name="connsiteY30" fmla="*/ 1666875 h 3810000"/>
              <a:gd name="connsiteX31" fmla="*/ 1009650 w 3133725"/>
              <a:gd name="connsiteY31" fmla="*/ 1695450 h 3810000"/>
              <a:gd name="connsiteX32" fmla="*/ 1028700 w 3133725"/>
              <a:gd name="connsiteY32" fmla="*/ 1724025 h 3810000"/>
              <a:gd name="connsiteX33" fmla="*/ 1047750 w 3133725"/>
              <a:gd name="connsiteY33" fmla="*/ 1762125 h 3810000"/>
              <a:gd name="connsiteX34" fmla="*/ 1133475 w 3133725"/>
              <a:gd name="connsiteY34" fmla="*/ 1866900 h 3810000"/>
              <a:gd name="connsiteX35" fmla="*/ 1162050 w 3133725"/>
              <a:gd name="connsiteY35" fmla="*/ 2095500 h 3810000"/>
              <a:gd name="connsiteX36" fmla="*/ 1171575 w 3133725"/>
              <a:gd name="connsiteY36" fmla="*/ 2438400 h 3810000"/>
              <a:gd name="connsiteX37" fmla="*/ 1190625 w 3133725"/>
              <a:gd name="connsiteY37" fmla="*/ 2466975 h 3810000"/>
              <a:gd name="connsiteX38" fmla="*/ 1200150 w 3133725"/>
              <a:gd name="connsiteY38" fmla="*/ 2495550 h 3810000"/>
              <a:gd name="connsiteX39" fmla="*/ 1247775 w 3133725"/>
              <a:gd name="connsiteY39" fmla="*/ 2552700 h 3810000"/>
              <a:gd name="connsiteX40" fmla="*/ 1276350 w 3133725"/>
              <a:gd name="connsiteY40" fmla="*/ 2619375 h 3810000"/>
              <a:gd name="connsiteX41" fmla="*/ 1304925 w 3133725"/>
              <a:gd name="connsiteY41" fmla="*/ 2657475 h 3810000"/>
              <a:gd name="connsiteX42" fmla="*/ 1343025 w 3133725"/>
              <a:gd name="connsiteY42" fmla="*/ 2714625 h 3810000"/>
              <a:gd name="connsiteX43" fmla="*/ 1362075 w 3133725"/>
              <a:gd name="connsiteY43" fmla="*/ 2743200 h 3810000"/>
              <a:gd name="connsiteX44" fmla="*/ 1390650 w 3133725"/>
              <a:gd name="connsiteY44" fmla="*/ 2781300 h 3810000"/>
              <a:gd name="connsiteX45" fmla="*/ 1447800 w 3133725"/>
              <a:gd name="connsiteY45" fmla="*/ 2838450 h 3810000"/>
              <a:gd name="connsiteX46" fmla="*/ 1476375 w 3133725"/>
              <a:gd name="connsiteY46" fmla="*/ 2867025 h 3810000"/>
              <a:gd name="connsiteX47" fmla="*/ 1533525 w 3133725"/>
              <a:gd name="connsiteY47" fmla="*/ 2914650 h 3810000"/>
              <a:gd name="connsiteX48" fmla="*/ 1571625 w 3133725"/>
              <a:gd name="connsiteY48" fmla="*/ 2943225 h 3810000"/>
              <a:gd name="connsiteX49" fmla="*/ 1628775 w 3133725"/>
              <a:gd name="connsiteY49" fmla="*/ 3000375 h 3810000"/>
              <a:gd name="connsiteX50" fmla="*/ 1743075 w 3133725"/>
              <a:gd name="connsiteY50" fmla="*/ 3086100 h 3810000"/>
              <a:gd name="connsiteX51" fmla="*/ 1809750 w 3133725"/>
              <a:gd name="connsiteY51" fmla="*/ 3133725 h 3810000"/>
              <a:gd name="connsiteX52" fmla="*/ 1914525 w 3133725"/>
              <a:gd name="connsiteY52" fmla="*/ 3200400 h 3810000"/>
              <a:gd name="connsiteX53" fmla="*/ 2009775 w 3133725"/>
              <a:gd name="connsiteY53" fmla="*/ 3276600 h 3810000"/>
              <a:gd name="connsiteX54" fmla="*/ 2047875 w 3133725"/>
              <a:gd name="connsiteY54" fmla="*/ 3295650 h 3810000"/>
              <a:gd name="connsiteX55" fmla="*/ 2095500 w 3133725"/>
              <a:gd name="connsiteY55" fmla="*/ 3324225 h 3810000"/>
              <a:gd name="connsiteX56" fmla="*/ 2143125 w 3133725"/>
              <a:gd name="connsiteY56" fmla="*/ 3362325 h 3810000"/>
              <a:gd name="connsiteX57" fmla="*/ 2190750 w 3133725"/>
              <a:gd name="connsiteY57" fmla="*/ 3390900 h 3810000"/>
              <a:gd name="connsiteX58" fmla="*/ 2247900 w 3133725"/>
              <a:gd name="connsiteY58" fmla="*/ 3438525 h 3810000"/>
              <a:gd name="connsiteX59" fmla="*/ 2305050 w 3133725"/>
              <a:gd name="connsiteY59" fmla="*/ 3467100 h 3810000"/>
              <a:gd name="connsiteX60" fmla="*/ 2400300 w 3133725"/>
              <a:gd name="connsiteY60" fmla="*/ 3524250 h 3810000"/>
              <a:gd name="connsiteX61" fmla="*/ 2466975 w 3133725"/>
              <a:gd name="connsiteY61" fmla="*/ 3562350 h 3810000"/>
              <a:gd name="connsiteX62" fmla="*/ 2524125 w 3133725"/>
              <a:gd name="connsiteY62" fmla="*/ 3581400 h 3810000"/>
              <a:gd name="connsiteX63" fmla="*/ 2600325 w 3133725"/>
              <a:gd name="connsiteY63" fmla="*/ 3629025 h 3810000"/>
              <a:gd name="connsiteX64" fmla="*/ 2733675 w 3133725"/>
              <a:gd name="connsiteY64" fmla="*/ 3676650 h 3810000"/>
              <a:gd name="connsiteX65" fmla="*/ 2800350 w 3133725"/>
              <a:gd name="connsiteY65" fmla="*/ 3705225 h 3810000"/>
              <a:gd name="connsiteX66" fmla="*/ 2847975 w 3133725"/>
              <a:gd name="connsiteY66" fmla="*/ 3714750 h 3810000"/>
              <a:gd name="connsiteX67" fmla="*/ 2905125 w 3133725"/>
              <a:gd name="connsiteY67" fmla="*/ 3733800 h 3810000"/>
              <a:gd name="connsiteX68" fmla="*/ 2952750 w 3133725"/>
              <a:gd name="connsiteY68" fmla="*/ 3743325 h 3810000"/>
              <a:gd name="connsiteX69" fmla="*/ 3057525 w 3133725"/>
              <a:gd name="connsiteY69" fmla="*/ 3781425 h 3810000"/>
              <a:gd name="connsiteX70" fmla="*/ 3105150 w 3133725"/>
              <a:gd name="connsiteY70" fmla="*/ 3790950 h 3810000"/>
              <a:gd name="connsiteX71" fmla="*/ 3133725 w 3133725"/>
              <a:gd name="connsiteY71" fmla="*/ 3810000 h 38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</a:cxnLst>
            <a:rect l="l" t="t" r="r" b="b"/>
            <a:pathLst>
              <a:path w="3133725" h="3810000">
                <a:moveTo>
                  <a:pt x="0" y="0"/>
                </a:moveTo>
                <a:cubicBezTo>
                  <a:pt x="25031" y="37546"/>
                  <a:pt x="60694" y="67229"/>
                  <a:pt x="85725" y="104775"/>
                </a:cubicBezTo>
                <a:cubicBezTo>
                  <a:pt x="127829" y="167930"/>
                  <a:pt x="78345" y="97753"/>
                  <a:pt x="133350" y="161925"/>
                </a:cubicBezTo>
                <a:cubicBezTo>
                  <a:pt x="143681" y="173978"/>
                  <a:pt x="151594" y="187972"/>
                  <a:pt x="161925" y="200025"/>
                </a:cubicBezTo>
                <a:cubicBezTo>
                  <a:pt x="170691" y="210252"/>
                  <a:pt x="181876" y="218252"/>
                  <a:pt x="190500" y="228600"/>
                </a:cubicBezTo>
                <a:cubicBezTo>
                  <a:pt x="197829" y="237394"/>
                  <a:pt x="202681" y="248017"/>
                  <a:pt x="209550" y="257175"/>
                </a:cubicBezTo>
                <a:cubicBezTo>
                  <a:pt x="246540" y="306495"/>
                  <a:pt x="244168" y="301318"/>
                  <a:pt x="285750" y="342900"/>
                </a:cubicBezTo>
                <a:cubicBezTo>
                  <a:pt x="304463" y="399040"/>
                  <a:pt x="282661" y="343672"/>
                  <a:pt x="323850" y="409575"/>
                </a:cubicBezTo>
                <a:cubicBezTo>
                  <a:pt x="331375" y="421616"/>
                  <a:pt x="335375" y="435634"/>
                  <a:pt x="342900" y="447675"/>
                </a:cubicBezTo>
                <a:cubicBezTo>
                  <a:pt x="348312" y="456335"/>
                  <a:pt x="384325" y="500400"/>
                  <a:pt x="390525" y="514350"/>
                </a:cubicBezTo>
                <a:cubicBezTo>
                  <a:pt x="398680" y="532700"/>
                  <a:pt x="403225" y="552450"/>
                  <a:pt x="409575" y="571500"/>
                </a:cubicBezTo>
                <a:lnTo>
                  <a:pt x="419100" y="600075"/>
                </a:lnTo>
                <a:cubicBezTo>
                  <a:pt x="437309" y="654701"/>
                  <a:pt x="420909" y="601564"/>
                  <a:pt x="438150" y="676275"/>
                </a:cubicBezTo>
                <a:cubicBezTo>
                  <a:pt x="444037" y="701786"/>
                  <a:pt x="457200" y="752475"/>
                  <a:pt x="457200" y="752475"/>
                </a:cubicBezTo>
                <a:cubicBezTo>
                  <a:pt x="460375" y="796925"/>
                  <a:pt x="461518" y="841567"/>
                  <a:pt x="466725" y="885825"/>
                </a:cubicBezTo>
                <a:cubicBezTo>
                  <a:pt x="467898" y="895796"/>
                  <a:pt x="474281" y="904555"/>
                  <a:pt x="476250" y="914400"/>
                </a:cubicBezTo>
                <a:cubicBezTo>
                  <a:pt x="480653" y="936415"/>
                  <a:pt x="479868" y="959415"/>
                  <a:pt x="485775" y="981075"/>
                </a:cubicBezTo>
                <a:cubicBezTo>
                  <a:pt x="489511" y="994774"/>
                  <a:pt x="497520" y="1006999"/>
                  <a:pt x="504825" y="1019175"/>
                </a:cubicBezTo>
                <a:cubicBezTo>
                  <a:pt x="541867" y="1080911"/>
                  <a:pt x="527579" y="1066094"/>
                  <a:pt x="571500" y="1095375"/>
                </a:cubicBezTo>
                <a:cubicBezTo>
                  <a:pt x="610755" y="1154257"/>
                  <a:pt x="567170" y="1096818"/>
                  <a:pt x="619125" y="1143000"/>
                </a:cubicBezTo>
                <a:cubicBezTo>
                  <a:pt x="639261" y="1160898"/>
                  <a:pt x="657225" y="1181100"/>
                  <a:pt x="676275" y="1200150"/>
                </a:cubicBezTo>
                <a:cubicBezTo>
                  <a:pt x="684370" y="1208245"/>
                  <a:pt x="696056" y="1211871"/>
                  <a:pt x="704850" y="1219200"/>
                </a:cubicBezTo>
                <a:cubicBezTo>
                  <a:pt x="798475" y="1297221"/>
                  <a:pt x="677550" y="1201425"/>
                  <a:pt x="752475" y="1276350"/>
                </a:cubicBezTo>
                <a:cubicBezTo>
                  <a:pt x="760570" y="1284445"/>
                  <a:pt x="771525" y="1289050"/>
                  <a:pt x="781050" y="1295400"/>
                </a:cubicBezTo>
                <a:cubicBezTo>
                  <a:pt x="814265" y="1361830"/>
                  <a:pt x="782337" y="1308014"/>
                  <a:pt x="828675" y="1362075"/>
                </a:cubicBezTo>
                <a:cubicBezTo>
                  <a:pt x="875933" y="1417209"/>
                  <a:pt x="835522" y="1385689"/>
                  <a:pt x="885825" y="1419225"/>
                </a:cubicBezTo>
                <a:cubicBezTo>
                  <a:pt x="908188" y="1452769"/>
                  <a:pt x="928330" y="1477864"/>
                  <a:pt x="942975" y="1514475"/>
                </a:cubicBezTo>
                <a:cubicBezTo>
                  <a:pt x="950433" y="1533119"/>
                  <a:pt x="955675" y="1552575"/>
                  <a:pt x="962025" y="1571625"/>
                </a:cubicBezTo>
                <a:lnTo>
                  <a:pt x="971550" y="1600200"/>
                </a:lnTo>
                <a:cubicBezTo>
                  <a:pt x="974725" y="1609725"/>
                  <a:pt x="976585" y="1619795"/>
                  <a:pt x="981075" y="1628775"/>
                </a:cubicBezTo>
                <a:cubicBezTo>
                  <a:pt x="987425" y="1641475"/>
                  <a:pt x="994532" y="1653824"/>
                  <a:pt x="1000125" y="1666875"/>
                </a:cubicBezTo>
                <a:cubicBezTo>
                  <a:pt x="1004080" y="1676103"/>
                  <a:pt x="1005160" y="1686470"/>
                  <a:pt x="1009650" y="1695450"/>
                </a:cubicBezTo>
                <a:cubicBezTo>
                  <a:pt x="1014770" y="1705689"/>
                  <a:pt x="1023020" y="1714086"/>
                  <a:pt x="1028700" y="1724025"/>
                </a:cubicBezTo>
                <a:cubicBezTo>
                  <a:pt x="1035745" y="1736353"/>
                  <a:pt x="1039874" y="1750311"/>
                  <a:pt x="1047750" y="1762125"/>
                </a:cubicBezTo>
                <a:cubicBezTo>
                  <a:pt x="1091238" y="1827357"/>
                  <a:pt x="1091675" y="1825100"/>
                  <a:pt x="1133475" y="1866900"/>
                </a:cubicBezTo>
                <a:cubicBezTo>
                  <a:pt x="1173957" y="1968105"/>
                  <a:pt x="1155170" y="1906311"/>
                  <a:pt x="1162050" y="2095500"/>
                </a:cubicBezTo>
                <a:cubicBezTo>
                  <a:pt x="1166205" y="2209769"/>
                  <a:pt x="1162805" y="2324393"/>
                  <a:pt x="1171575" y="2438400"/>
                </a:cubicBezTo>
                <a:cubicBezTo>
                  <a:pt x="1172453" y="2449814"/>
                  <a:pt x="1185505" y="2456736"/>
                  <a:pt x="1190625" y="2466975"/>
                </a:cubicBezTo>
                <a:cubicBezTo>
                  <a:pt x="1195115" y="2475955"/>
                  <a:pt x="1195660" y="2486570"/>
                  <a:pt x="1200150" y="2495550"/>
                </a:cubicBezTo>
                <a:cubicBezTo>
                  <a:pt x="1213411" y="2522072"/>
                  <a:pt x="1226709" y="2531634"/>
                  <a:pt x="1247775" y="2552700"/>
                </a:cubicBezTo>
                <a:cubicBezTo>
                  <a:pt x="1257034" y="2580478"/>
                  <a:pt x="1259536" y="2592472"/>
                  <a:pt x="1276350" y="2619375"/>
                </a:cubicBezTo>
                <a:cubicBezTo>
                  <a:pt x="1284764" y="2632837"/>
                  <a:pt x="1295821" y="2644470"/>
                  <a:pt x="1304925" y="2657475"/>
                </a:cubicBezTo>
                <a:cubicBezTo>
                  <a:pt x="1318055" y="2676232"/>
                  <a:pt x="1330325" y="2695575"/>
                  <a:pt x="1343025" y="2714625"/>
                </a:cubicBezTo>
                <a:cubicBezTo>
                  <a:pt x="1349375" y="2724150"/>
                  <a:pt x="1355206" y="2734042"/>
                  <a:pt x="1362075" y="2743200"/>
                </a:cubicBezTo>
                <a:cubicBezTo>
                  <a:pt x="1371600" y="2755900"/>
                  <a:pt x="1380030" y="2769500"/>
                  <a:pt x="1390650" y="2781300"/>
                </a:cubicBezTo>
                <a:cubicBezTo>
                  <a:pt x="1408672" y="2801325"/>
                  <a:pt x="1428750" y="2819400"/>
                  <a:pt x="1447800" y="2838450"/>
                </a:cubicBezTo>
                <a:cubicBezTo>
                  <a:pt x="1457325" y="2847975"/>
                  <a:pt x="1466027" y="2858401"/>
                  <a:pt x="1476375" y="2867025"/>
                </a:cubicBezTo>
                <a:cubicBezTo>
                  <a:pt x="1495425" y="2882900"/>
                  <a:pt x="1514161" y="2899159"/>
                  <a:pt x="1533525" y="2914650"/>
                </a:cubicBezTo>
                <a:cubicBezTo>
                  <a:pt x="1545921" y="2924567"/>
                  <a:pt x="1560400" y="2932000"/>
                  <a:pt x="1571625" y="2943225"/>
                </a:cubicBezTo>
                <a:cubicBezTo>
                  <a:pt x="1642512" y="3014112"/>
                  <a:pt x="1561432" y="2955480"/>
                  <a:pt x="1628775" y="3000375"/>
                </a:cubicBezTo>
                <a:cubicBezTo>
                  <a:pt x="1673089" y="3066845"/>
                  <a:pt x="1622726" y="3000137"/>
                  <a:pt x="1743075" y="3086100"/>
                </a:cubicBezTo>
                <a:cubicBezTo>
                  <a:pt x="1765300" y="3101975"/>
                  <a:pt x="1787025" y="3118575"/>
                  <a:pt x="1809750" y="3133725"/>
                </a:cubicBezTo>
                <a:cubicBezTo>
                  <a:pt x="1872146" y="3175322"/>
                  <a:pt x="1847983" y="3150494"/>
                  <a:pt x="1914525" y="3200400"/>
                </a:cubicBezTo>
                <a:cubicBezTo>
                  <a:pt x="1947053" y="3224796"/>
                  <a:pt x="1978025" y="3251200"/>
                  <a:pt x="2009775" y="3276600"/>
                </a:cubicBezTo>
                <a:cubicBezTo>
                  <a:pt x="2020863" y="3285470"/>
                  <a:pt x="2035463" y="3288754"/>
                  <a:pt x="2047875" y="3295650"/>
                </a:cubicBezTo>
                <a:cubicBezTo>
                  <a:pt x="2064059" y="3304641"/>
                  <a:pt x="2080333" y="3313608"/>
                  <a:pt x="2095500" y="3324225"/>
                </a:cubicBezTo>
                <a:cubicBezTo>
                  <a:pt x="2112155" y="3335883"/>
                  <a:pt x="2126470" y="3350667"/>
                  <a:pt x="2143125" y="3362325"/>
                </a:cubicBezTo>
                <a:cubicBezTo>
                  <a:pt x="2158292" y="3372942"/>
                  <a:pt x="2175778" y="3380011"/>
                  <a:pt x="2190750" y="3390900"/>
                </a:cubicBezTo>
                <a:cubicBezTo>
                  <a:pt x="2210805" y="3405485"/>
                  <a:pt x="2227267" y="3424770"/>
                  <a:pt x="2247900" y="3438525"/>
                </a:cubicBezTo>
                <a:cubicBezTo>
                  <a:pt x="2265621" y="3450339"/>
                  <a:pt x="2286487" y="3456658"/>
                  <a:pt x="2305050" y="3467100"/>
                </a:cubicBezTo>
                <a:cubicBezTo>
                  <a:pt x="2337321" y="3485253"/>
                  <a:pt x="2368386" y="3505477"/>
                  <a:pt x="2400300" y="3524250"/>
                </a:cubicBezTo>
                <a:cubicBezTo>
                  <a:pt x="2422364" y="3537229"/>
                  <a:pt x="2444750" y="3549650"/>
                  <a:pt x="2466975" y="3562350"/>
                </a:cubicBezTo>
                <a:cubicBezTo>
                  <a:pt x="2484410" y="3572313"/>
                  <a:pt x="2506164" y="3572420"/>
                  <a:pt x="2524125" y="3581400"/>
                </a:cubicBezTo>
                <a:cubicBezTo>
                  <a:pt x="2550916" y="3594795"/>
                  <a:pt x="2573534" y="3615630"/>
                  <a:pt x="2600325" y="3629025"/>
                </a:cubicBezTo>
                <a:cubicBezTo>
                  <a:pt x="2642173" y="3649949"/>
                  <a:pt x="2690136" y="3659904"/>
                  <a:pt x="2733675" y="3676650"/>
                </a:cubicBezTo>
                <a:cubicBezTo>
                  <a:pt x="2756243" y="3685330"/>
                  <a:pt x="2777411" y="3697579"/>
                  <a:pt x="2800350" y="3705225"/>
                </a:cubicBezTo>
                <a:cubicBezTo>
                  <a:pt x="2815709" y="3710345"/>
                  <a:pt x="2832356" y="3710490"/>
                  <a:pt x="2847975" y="3714750"/>
                </a:cubicBezTo>
                <a:cubicBezTo>
                  <a:pt x="2867348" y="3720034"/>
                  <a:pt x="2885752" y="3728516"/>
                  <a:pt x="2905125" y="3733800"/>
                </a:cubicBezTo>
                <a:cubicBezTo>
                  <a:pt x="2920744" y="3738060"/>
                  <a:pt x="2937131" y="3739065"/>
                  <a:pt x="2952750" y="3743325"/>
                </a:cubicBezTo>
                <a:cubicBezTo>
                  <a:pt x="3148449" y="3796697"/>
                  <a:pt x="2887097" y="3730297"/>
                  <a:pt x="3057525" y="3781425"/>
                </a:cubicBezTo>
                <a:cubicBezTo>
                  <a:pt x="3073032" y="3786077"/>
                  <a:pt x="3089275" y="3787775"/>
                  <a:pt x="3105150" y="3790950"/>
                </a:cubicBezTo>
                <a:cubicBezTo>
                  <a:pt x="3114675" y="3797300"/>
                  <a:pt x="3123331" y="3805203"/>
                  <a:pt x="3133725" y="3810000"/>
                </a:cubicBezTo>
              </a:path>
            </a:pathLst>
          </a:custGeom>
          <a:noFill/>
          <a:ln w="38100">
            <a:solidFill>
              <a:schemeClr val="tx1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>
              <a:solidFill>
                <a:schemeClr val="tx1"/>
              </a:solidFill>
            </a:endParaRPr>
          </a:p>
        </p:txBody>
      </p:sp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11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83488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(</a:t>
            </a:r>
            <a:r>
              <a:rPr lang="fr-CH" dirty="0">
                <a:solidFill>
                  <a:srgbClr val="FF0000"/>
                </a:solidFill>
                <a:latin typeface="Arial" charset="0"/>
              </a:rPr>
              <a:t>A.1</a:t>
            </a:r>
            <a:r>
              <a:rPr lang="fr-CH" dirty="0">
                <a:latin typeface="Arial" charset="0"/>
              </a:rPr>
              <a:t>)</a:t>
            </a:r>
            <a:br>
              <a:rPr lang="fr-CH" dirty="0">
                <a:latin typeface="Arial" charset="0"/>
              </a:rPr>
            </a:br>
            <a:r>
              <a:rPr lang="fr-CH" dirty="0">
                <a:latin typeface="Arial" charset="0"/>
              </a:rPr>
              <a:t>—</a:t>
            </a:r>
            <a:endParaRPr lang="fr-CH" dirty="0" smtClean="0">
              <a:latin typeface="Arial" charset="0"/>
            </a:endParaRP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6779096" cy="307777"/>
          </a:xfrm>
        </p:spPr>
        <p:txBody>
          <a:bodyPr/>
          <a:lstStyle/>
          <a:p>
            <a:r>
              <a:rPr lang="fr-CH" dirty="0" err="1" smtClean="0"/>
              <a:t>Regionale</a:t>
            </a:r>
            <a:r>
              <a:rPr lang="fr-CH" dirty="0" smtClean="0"/>
              <a:t> </a:t>
            </a:r>
            <a:r>
              <a:rPr lang="fr-CH" dirty="0" err="1" smtClean="0"/>
              <a:t>Aspekte</a:t>
            </a:r>
            <a:r>
              <a:rPr lang="fr-CH" dirty="0" smtClean="0"/>
              <a:t>: Sind </a:t>
            </a:r>
            <a:r>
              <a:rPr lang="de-DE" dirty="0" smtClean="0"/>
              <a:t>Synergien</a:t>
            </a:r>
            <a:r>
              <a:rPr lang="fr-CH" dirty="0" smtClean="0"/>
              <a:t> </a:t>
            </a:r>
            <a:r>
              <a:rPr lang="fr-CH" dirty="0" err="1" smtClean="0"/>
              <a:t>möglich</a:t>
            </a:r>
            <a:r>
              <a:rPr lang="fr-CH" dirty="0" smtClean="0"/>
              <a:t> ?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pic>
        <p:nvPicPr>
          <p:cNvPr id="241668" name="Picture 4" descr="C:\Users\Meienbergerg\Desktop\imagesCAZ3PJG0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1222648"/>
            <a:ext cx="1247775" cy="838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1115616" y="4005064"/>
            <a:ext cx="1728192" cy="1296144"/>
          </a:xfrm>
          <a:prstGeom prst="rect">
            <a:avLst/>
          </a:prstGeom>
          <a:solidFill>
            <a:srgbClr val="99CCFF"/>
          </a:solidFill>
          <a:ln w="38100">
            <a:solidFill>
              <a:srgbClr val="0066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" name="Ellipse 5"/>
          <p:cNvSpPr/>
          <p:nvPr/>
        </p:nvSpPr>
        <p:spPr>
          <a:xfrm>
            <a:off x="1331640" y="2996952"/>
            <a:ext cx="360040" cy="360040"/>
          </a:xfrm>
          <a:prstGeom prst="ellipse">
            <a:avLst/>
          </a:prstGeom>
          <a:solidFill>
            <a:srgbClr val="0066FF"/>
          </a:solidFill>
          <a:ln w="38100">
            <a:solidFill>
              <a:srgbClr val="0066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8" name="Connecteur droit 7"/>
          <p:cNvCxnSpPr>
            <a:stCxn id="6" idx="4"/>
          </p:cNvCxnSpPr>
          <p:nvPr/>
        </p:nvCxnSpPr>
        <p:spPr>
          <a:xfrm>
            <a:off x="1511660" y="3356992"/>
            <a:ext cx="0" cy="648072"/>
          </a:xfrm>
          <a:prstGeom prst="line">
            <a:avLst/>
          </a:prstGeom>
          <a:solidFill>
            <a:srgbClr val="99CCFF"/>
          </a:solidFill>
          <a:ln w="38100">
            <a:solidFill>
              <a:srgbClr val="0066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5004048" y="4077072"/>
            <a:ext cx="2232248" cy="936104"/>
          </a:xfrm>
          <a:prstGeom prst="rect">
            <a:avLst/>
          </a:prstGeom>
          <a:solidFill>
            <a:srgbClr val="99CCFF"/>
          </a:solidFill>
          <a:ln w="38100">
            <a:solidFill>
              <a:srgbClr val="0066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9" name="Ellipse 18"/>
          <p:cNvSpPr/>
          <p:nvPr/>
        </p:nvSpPr>
        <p:spPr>
          <a:xfrm>
            <a:off x="6300192" y="3253172"/>
            <a:ext cx="360040" cy="360040"/>
          </a:xfrm>
          <a:prstGeom prst="ellipse">
            <a:avLst/>
          </a:prstGeom>
          <a:solidFill>
            <a:srgbClr val="0066FF"/>
          </a:solidFill>
          <a:ln w="12700">
            <a:solidFill>
              <a:srgbClr val="0066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3" name="Connecteur droit 22"/>
          <p:cNvCxnSpPr>
            <a:stCxn id="19" idx="4"/>
          </p:cNvCxnSpPr>
          <p:nvPr/>
        </p:nvCxnSpPr>
        <p:spPr>
          <a:xfrm>
            <a:off x="6480212" y="3613212"/>
            <a:ext cx="0" cy="463860"/>
          </a:xfrm>
          <a:prstGeom prst="line">
            <a:avLst/>
          </a:prstGeom>
          <a:ln w="38100">
            <a:solidFill>
              <a:srgbClr val="0066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52" name="Groupe 51"/>
          <p:cNvGrpSpPr/>
          <p:nvPr/>
        </p:nvGrpSpPr>
        <p:grpSpPr>
          <a:xfrm>
            <a:off x="2838871" y="2708920"/>
            <a:ext cx="2165177" cy="1944216"/>
            <a:chOff x="2838871" y="2708920"/>
            <a:chExt cx="2165177" cy="1944216"/>
          </a:xfrm>
          <a:solidFill>
            <a:srgbClr val="FF0000"/>
          </a:solidFill>
        </p:grpSpPr>
        <p:sp>
          <p:nvSpPr>
            <p:cNvPr id="17" name="Ellipse 16"/>
            <p:cNvSpPr/>
            <p:nvPr/>
          </p:nvSpPr>
          <p:spPr>
            <a:xfrm>
              <a:off x="3923928" y="2708920"/>
              <a:ext cx="450000" cy="450000"/>
            </a:xfrm>
            <a:prstGeom prst="ellipse">
              <a:avLst/>
            </a:prstGeom>
            <a:grpFill/>
            <a:ln w="12700">
              <a:solidFill>
                <a:srgbClr val="FF000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CH"/>
            </a:p>
          </p:txBody>
        </p:sp>
        <p:cxnSp>
          <p:nvCxnSpPr>
            <p:cNvPr id="20" name="Connecteur droit 19"/>
            <p:cNvCxnSpPr/>
            <p:nvPr/>
          </p:nvCxnSpPr>
          <p:spPr>
            <a:xfrm>
              <a:off x="4147114" y="2940624"/>
              <a:ext cx="1814" cy="1712512"/>
            </a:xfrm>
            <a:prstGeom prst="line">
              <a:avLst/>
            </a:prstGeom>
            <a:grpFill/>
            <a:ln w="38100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Connecteur droit 24"/>
            <p:cNvCxnSpPr/>
            <p:nvPr/>
          </p:nvCxnSpPr>
          <p:spPr>
            <a:xfrm>
              <a:off x="2838871" y="4648944"/>
              <a:ext cx="2165177" cy="0"/>
            </a:xfrm>
            <a:prstGeom prst="line">
              <a:avLst/>
            </a:prstGeom>
            <a:grpFill/>
            <a:ln w="38100">
              <a:solidFill>
                <a:srgbClr val="FF0000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3" name="Multiplier 52"/>
          <p:cNvSpPr/>
          <p:nvPr/>
        </p:nvSpPr>
        <p:spPr>
          <a:xfrm>
            <a:off x="899592" y="2530359"/>
            <a:ext cx="1224136" cy="1280238"/>
          </a:xfrm>
          <a:prstGeom prst="mathMultiply">
            <a:avLst>
              <a:gd name="adj1" fmla="val 7180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60" name="Multiplier 59"/>
          <p:cNvSpPr/>
          <p:nvPr/>
        </p:nvSpPr>
        <p:spPr>
          <a:xfrm>
            <a:off x="5868144" y="2796834"/>
            <a:ext cx="1224136" cy="1280238"/>
          </a:xfrm>
          <a:prstGeom prst="mathMultiply">
            <a:avLst>
              <a:gd name="adj1" fmla="val 7180"/>
            </a:avLst>
          </a:prstGeom>
          <a:solidFill>
            <a:srgbClr val="FF0000"/>
          </a:solidFill>
          <a:ln w="127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1" name="Ellipse 20"/>
          <p:cNvSpPr/>
          <p:nvPr/>
        </p:nvSpPr>
        <p:spPr>
          <a:xfrm>
            <a:off x="2317750" y="2996952"/>
            <a:ext cx="360040" cy="360040"/>
          </a:xfrm>
          <a:prstGeom prst="ellipse">
            <a:avLst/>
          </a:prstGeom>
          <a:solidFill>
            <a:srgbClr val="FF0000"/>
          </a:solidFill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2" name="Connecteur droit 21"/>
          <p:cNvCxnSpPr>
            <a:stCxn id="21" idx="4"/>
          </p:cNvCxnSpPr>
          <p:nvPr/>
        </p:nvCxnSpPr>
        <p:spPr>
          <a:xfrm>
            <a:off x="2497770" y="3356992"/>
            <a:ext cx="0" cy="648072"/>
          </a:xfrm>
          <a:prstGeom prst="line">
            <a:avLst/>
          </a:prstGeom>
          <a:solidFill>
            <a:srgbClr val="99CCFF"/>
          </a:solidFill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Ellipse 23"/>
          <p:cNvSpPr/>
          <p:nvPr/>
        </p:nvSpPr>
        <p:spPr>
          <a:xfrm>
            <a:off x="5078276" y="3073152"/>
            <a:ext cx="360040" cy="360040"/>
          </a:xfrm>
          <a:prstGeom prst="ellipse">
            <a:avLst/>
          </a:prstGeom>
          <a:solidFill>
            <a:srgbClr val="FF0000"/>
          </a:solidFill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6" name="Connecteur droit 25"/>
          <p:cNvCxnSpPr>
            <a:stCxn id="24" idx="4"/>
          </p:cNvCxnSpPr>
          <p:nvPr/>
        </p:nvCxnSpPr>
        <p:spPr>
          <a:xfrm>
            <a:off x="5258296" y="3433192"/>
            <a:ext cx="0" cy="648072"/>
          </a:xfrm>
          <a:prstGeom prst="line">
            <a:avLst/>
          </a:prstGeom>
          <a:solidFill>
            <a:srgbClr val="99CCFF"/>
          </a:solidFill>
          <a:ln w="38100">
            <a:solidFill>
              <a:srgbClr val="FF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04829266"/>
      </p:ext>
    </p:extLst>
  </p:cSld>
  <p:clrMapOvr>
    <a:masterClrMapping/>
  </p:clrMapOvr>
  <p:transition advClick="0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60" grpId="0" animBg="1"/>
      <p:bldP spid="21" grpId="0" animBg="1"/>
      <p:bldP spid="21" grpId="1" animBg="1"/>
      <p:bldP spid="24" grpId="0" animBg="1"/>
      <p:bldP spid="24" grpId="1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00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4186808" cy="307777"/>
          </a:xfrm>
        </p:spPr>
        <p:txBody>
          <a:bodyPr/>
          <a:lstStyle/>
          <a:p>
            <a:r>
              <a:rPr lang="fr-CH" dirty="0" err="1" smtClean="0"/>
              <a:t>Druckzonen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3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4427984" y="1886049"/>
            <a:ext cx="4536504" cy="3539430"/>
          </a:xfrm>
        </p:spPr>
        <p:txBody>
          <a:bodyPr/>
          <a:lstStyle/>
          <a:p>
            <a:pPr lvl="1">
              <a:spcAft>
                <a:spcPts val="0"/>
              </a:spcAft>
            </a:pPr>
            <a:endParaRPr lang="fr-CH" sz="1000" dirty="0" smtClean="0">
              <a:latin typeface="Arial" charset="0"/>
            </a:endParaRPr>
          </a:p>
          <a:p>
            <a:pPr lvl="1"/>
            <a:r>
              <a:rPr lang="fr-CH" dirty="0" err="1" smtClean="0">
                <a:latin typeface="Arial" charset="0"/>
              </a:rPr>
              <a:t>Ausgestaltung</a:t>
            </a:r>
            <a:r>
              <a:rPr lang="fr-CH" dirty="0" smtClean="0">
                <a:latin typeface="Arial" charset="0"/>
              </a:rPr>
              <a:t> der </a:t>
            </a:r>
            <a:r>
              <a:rPr lang="fr-CH" dirty="0" err="1" smtClean="0">
                <a:latin typeface="Arial" charset="0"/>
              </a:rPr>
              <a:t>Druckzonen</a:t>
            </a:r>
            <a:r>
              <a:rPr lang="fr-CH" dirty="0" smtClean="0">
                <a:latin typeface="Arial" charset="0"/>
              </a:rPr>
              <a:t> ?</a:t>
            </a:r>
          </a:p>
          <a:p>
            <a:pPr lvl="1"/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Quel type de source 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Karstique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Dépôts quaternaires</a:t>
            </a:r>
          </a:p>
          <a:p>
            <a:pPr lvl="1"/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Quelles influences? </a:t>
            </a:r>
          </a:p>
          <a:p>
            <a:pPr marL="611187" lvl="2" indent="-342900">
              <a:buFont typeface="Arial" panose="020B0604020202020204" pitchFamily="34" charset="0"/>
              <a:buChar char="•"/>
            </a:pPr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Agriculture</a:t>
            </a:r>
          </a:p>
          <a:p>
            <a:pPr lvl="1"/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Quelle réaction aux précipitations?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Fortes variations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fr-CH" dirty="0" smtClean="0">
                <a:solidFill>
                  <a:schemeClr val="bg2"/>
                </a:solidFill>
                <a:latin typeface="Arial" charset="0"/>
              </a:rPr>
              <a:t>Turbidité</a:t>
            </a:r>
          </a:p>
        </p:txBody>
      </p:sp>
      <p:pic>
        <p:nvPicPr>
          <p:cNvPr id="252983" name="Picture 55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1188"/>
          <a:stretch/>
        </p:blipFill>
        <p:spPr bwMode="auto">
          <a:xfrm>
            <a:off x="457200" y="2060849"/>
            <a:ext cx="3587085" cy="3096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Ellipse 1"/>
          <p:cNvSpPr/>
          <p:nvPr/>
        </p:nvSpPr>
        <p:spPr>
          <a:xfrm>
            <a:off x="395536" y="2348880"/>
            <a:ext cx="1296144" cy="504056"/>
          </a:xfrm>
          <a:prstGeom prst="ellipse">
            <a:avLst/>
          </a:prstGeom>
          <a:noFill/>
          <a:ln w="28575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805782388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7282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73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457200" y="304800"/>
            <a:ext cx="4114800" cy="948978"/>
          </a:xfrm>
        </p:spPr>
        <p:txBody>
          <a:bodyPr/>
          <a:lstStyle/>
          <a:p>
            <a:r>
              <a:rPr lang="fr-CH" dirty="0" err="1">
                <a:latin typeface="Arial" charset="0"/>
              </a:rPr>
              <a:t>Ist-Zustand</a:t>
            </a:r>
            <a:r>
              <a:rPr lang="fr-CH" dirty="0">
                <a:latin typeface="Arial" charset="0"/>
              </a:rPr>
              <a:t> </a:t>
            </a:r>
            <a:r>
              <a:rPr lang="fr-CH" dirty="0" smtClean="0">
                <a:latin typeface="Arial" charset="0"/>
              </a:rPr>
              <a:t>(</a:t>
            </a:r>
            <a:r>
              <a:rPr lang="fr-CH" dirty="0" smtClean="0">
                <a:solidFill>
                  <a:srgbClr val="FF0000"/>
                </a:solidFill>
                <a:latin typeface="Arial" charset="0"/>
              </a:rPr>
              <a:t>A.2</a:t>
            </a:r>
            <a:r>
              <a:rPr lang="fr-CH" dirty="0" smtClean="0">
                <a:latin typeface="Arial" charset="0"/>
              </a:rPr>
              <a:t>)</a:t>
            </a:r>
            <a:br>
              <a:rPr lang="fr-CH" dirty="0" smtClean="0">
                <a:latin typeface="Arial" charset="0"/>
              </a:rPr>
            </a:br>
            <a:r>
              <a:rPr lang="fr-CH" dirty="0" smtClean="0">
                <a:latin typeface="Arial" charset="0"/>
              </a:rPr>
              <a:t>—</a:t>
            </a:r>
          </a:p>
        </p:txBody>
      </p:sp>
      <p:sp>
        <p:nvSpPr>
          <p:cNvPr id="35" name="Textplatzhalter 34"/>
          <p:cNvSpPr>
            <a:spLocks noGrp="1"/>
          </p:cNvSpPr>
          <p:nvPr>
            <p:ph type="body" sz="quarter" idx="17"/>
            <p:custDataLst>
              <p:tags r:id="rId3"/>
            </p:custDataLst>
          </p:nvPr>
        </p:nvSpPr>
        <p:spPr>
          <a:xfrm>
            <a:off x="457200" y="1484784"/>
            <a:ext cx="5535744" cy="307777"/>
          </a:xfrm>
        </p:spPr>
        <p:txBody>
          <a:bodyPr/>
          <a:lstStyle/>
          <a:p>
            <a:r>
              <a:rPr lang="fr-CH" dirty="0" smtClean="0"/>
              <a:t>Zur </a:t>
            </a:r>
            <a:r>
              <a:rPr lang="de-DE" dirty="0" smtClean="0"/>
              <a:t>Erinnerung</a:t>
            </a:r>
            <a:r>
              <a:rPr lang="fr-CH" dirty="0" smtClean="0"/>
              <a:t>: </a:t>
            </a:r>
            <a:r>
              <a:rPr lang="fr-CH" dirty="0" err="1" smtClean="0"/>
              <a:t>technische</a:t>
            </a:r>
            <a:r>
              <a:rPr lang="fr-CH" dirty="0" smtClean="0"/>
              <a:t> </a:t>
            </a:r>
            <a:r>
              <a:rPr lang="fr-CH" dirty="0" err="1" smtClean="0"/>
              <a:t>Ziele</a:t>
            </a:r>
            <a:r>
              <a:rPr lang="fr-CH" dirty="0" smtClean="0"/>
              <a:t> (SVGW, W3)</a:t>
            </a:r>
            <a:endParaRPr lang="fr-CH" dirty="0"/>
          </a:p>
        </p:txBody>
      </p:sp>
      <p:sp>
        <p:nvSpPr>
          <p:cNvPr id="829448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457200" y="1916832"/>
            <a:ext cx="3721100" cy="0"/>
          </a:xfrm>
          <a:prstGeom prst="line">
            <a:avLst/>
          </a:prstGeom>
          <a:noFill/>
          <a:ln w="28575">
            <a:solidFill>
              <a:schemeClr val="tx2"/>
            </a:solidFill>
            <a:round/>
            <a:headEnd/>
            <a:tailEnd/>
          </a:ln>
        </p:spPr>
        <p:txBody>
          <a:bodyPr lIns="90000" tIns="46800" rIns="90000" bIns="46800">
            <a:spAutoFit/>
          </a:bodyPr>
          <a:lstStyle/>
          <a:p>
            <a:endParaRPr lang="fr-CH" sz="1800" dirty="0"/>
          </a:p>
        </p:txBody>
      </p:sp>
      <p:sp>
        <p:nvSpPr>
          <p:cNvPr id="18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1763688" y="2636912"/>
            <a:ext cx="3816424" cy="307777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dirty="0" err="1" smtClean="0">
                <a:latin typeface="Arial" charset="0"/>
              </a:rPr>
              <a:t>Fliessdruck</a:t>
            </a:r>
            <a:r>
              <a:rPr lang="fr-CH" dirty="0" smtClean="0">
                <a:latin typeface="Arial" charset="0"/>
              </a:rPr>
              <a:t> </a:t>
            </a: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1.0</a:t>
            </a:r>
            <a:r>
              <a:rPr lang="fr-CH" dirty="0" smtClean="0">
                <a:latin typeface="Arial" charset="0"/>
              </a:rPr>
              <a:t> bar</a:t>
            </a:r>
          </a:p>
        </p:txBody>
      </p:sp>
      <p:sp>
        <p:nvSpPr>
          <p:cNvPr id="3" name="Rectangle 2"/>
          <p:cNvSpPr/>
          <p:nvPr/>
        </p:nvSpPr>
        <p:spPr>
          <a:xfrm>
            <a:off x="539552" y="3789040"/>
            <a:ext cx="1778198" cy="2232248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4" name="Triangle isocèle 3"/>
          <p:cNvSpPr/>
          <p:nvPr/>
        </p:nvSpPr>
        <p:spPr>
          <a:xfrm>
            <a:off x="361032" y="2967096"/>
            <a:ext cx="2135237" cy="821944"/>
          </a:xfrm>
          <a:prstGeom prst="triangle">
            <a:avLst/>
          </a:prstGeom>
          <a:solidFill>
            <a:schemeClr val="tx2"/>
          </a:solidFill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5" name="Rectangle 4"/>
          <p:cNvSpPr/>
          <p:nvPr/>
        </p:nvSpPr>
        <p:spPr>
          <a:xfrm>
            <a:off x="539552" y="4905164"/>
            <a:ext cx="1778198" cy="1116124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pic>
        <p:nvPicPr>
          <p:cNvPr id="256003" name="Picture 3" descr="C:\Users\Meienbergerg\Desktop\imagesCA1GX76W.jp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contrast="-4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0345" r="19828"/>
          <a:stretch/>
        </p:blipFill>
        <p:spPr bwMode="auto">
          <a:xfrm>
            <a:off x="560115" y="3804270"/>
            <a:ext cx="771525" cy="619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7" name="Connecteur en angle 6"/>
          <p:cNvCxnSpPr/>
          <p:nvPr/>
        </p:nvCxnSpPr>
        <p:spPr>
          <a:xfrm rot="10800000" flipV="1">
            <a:off x="1187624" y="2967095"/>
            <a:ext cx="1656184" cy="1024955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/>
        </p:nvSpPr>
        <p:spPr>
          <a:xfrm>
            <a:off x="7452320" y="437457"/>
            <a:ext cx="1512168" cy="1008112"/>
          </a:xfrm>
          <a:prstGeom prst="rect">
            <a:avLst/>
          </a:prstGeom>
          <a:solidFill>
            <a:srgbClr val="3399FF"/>
          </a:solidFill>
          <a:ln w="12700">
            <a:solidFill>
              <a:srgbClr val="33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5" name="Rectangle 14"/>
          <p:cNvSpPr/>
          <p:nvPr/>
        </p:nvSpPr>
        <p:spPr>
          <a:xfrm>
            <a:off x="7452320" y="156273"/>
            <a:ext cx="1512168" cy="1289296"/>
          </a:xfrm>
          <a:prstGeom prst="rect">
            <a:avLst/>
          </a:prstGeom>
          <a:noFill/>
          <a:ln w="12700">
            <a:solidFill>
              <a:schemeClr val="tx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cxnSp>
        <p:nvCxnSpPr>
          <p:cNvPr id="22" name="Connecteur droit 21"/>
          <p:cNvCxnSpPr/>
          <p:nvPr/>
        </p:nvCxnSpPr>
        <p:spPr>
          <a:xfrm>
            <a:off x="8208404" y="1253778"/>
            <a:ext cx="0" cy="4623494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droit 26"/>
          <p:cNvCxnSpPr/>
          <p:nvPr/>
        </p:nvCxnSpPr>
        <p:spPr>
          <a:xfrm>
            <a:off x="6588224" y="438449"/>
            <a:ext cx="864096" cy="0"/>
          </a:xfrm>
          <a:prstGeom prst="line">
            <a:avLst/>
          </a:prstGeom>
          <a:ln w="19050">
            <a:solidFill>
              <a:schemeClr val="tx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droit avec flèche 29"/>
          <p:cNvCxnSpPr/>
          <p:nvPr/>
        </p:nvCxnSpPr>
        <p:spPr>
          <a:xfrm>
            <a:off x="6948264" y="438449"/>
            <a:ext cx="0" cy="5438823"/>
          </a:xfrm>
          <a:prstGeom prst="straightConnector1">
            <a:avLst/>
          </a:prstGeom>
          <a:ln w="19050">
            <a:solidFill>
              <a:schemeClr val="tx1"/>
            </a:solidFill>
            <a:headEnd type="arrow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8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5710318" y="4513758"/>
            <a:ext cx="2318066" cy="1077218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i="1" dirty="0" smtClean="0">
                <a:latin typeface="Arial" charset="0"/>
              </a:rPr>
              <a:t>MAXIMUM</a:t>
            </a:r>
          </a:p>
          <a:p>
            <a:pPr marL="274637" lvl="2" indent="0">
              <a:buNone/>
            </a:pPr>
            <a:r>
              <a:rPr lang="fr-CH" dirty="0" err="1">
                <a:latin typeface="Arial" charset="0"/>
              </a:rPr>
              <a:t>Ruhedruck</a:t>
            </a:r>
            <a:endParaRPr lang="fr-CH" dirty="0" smtClean="0">
              <a:latin typeface="Arial" charset="0"/>
            </a:endParaRPr>
          </a:p>
          <a:p>
            <a:pPr marL="274637" lvl="2" indent="0">
              <a:buNone/>
            </a:pP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10-12</a:t>
            </a:r>
            <a:r>
              <a:rPr lang="fr-CH" dirty="0" smtClean="0">
                <a:latin typeface="Arial" charset="0"/>
              </a:rPr>
              <a:t> bar</a:t>
            </a:r>
          </a:p>
        </p:txBody>
      </p:sp>
      <p:sp>
        <p:nvSpPr>
          <p:cNvPr id="39" name="Espace réservé du texte 5"/>
          <p:cNvSpPr>
            <a:spLocks noGrp="1"/>
          </p:cNvSpPr>
          <p:nvPr>
            <p:ph type="body" sz="quarter" idx="20"/>
          </p:nvPr>
        </p:nvSpPr>
        <p:spPr>
          <a:xfrm>
            <a:off x="2541966" y="4653136"/>
            <a:ext cx="2318066" cy="1077218"/>
          </a:xfrm>
          <a:solidFill>
            <a:schemeClr val="bg1"/>
          </a:solidFill>
        </p:spPr>
        <p:txBody>
          <a:bodyPr/>
          <a:lstStyle/>
          <a:p>
            <a:pPr marL="274637" lvl="2" indent="0">
              <a:buNone/>
            </a:pPr>
            <a:r>
              <a:rPr lang="fr-CH" i="1" dirty="0" smtClean="0">
                <a:latin typeface="Arial" charset="0"/>
              </a:rPr>
              <a:t>MINIMUM</a:t>
            </a:r>
          </a:p>
          <a:p>
            <a:pPr marL="274637" lvl="2" indent="0">
              <a:buNone/>
            </a:pPr>
            <a:r>
              <a:rPr lang="fr-CH" dirty="0" err="1" smtClean="0">
                <a:latin typeface="Arial" charset="0"/>
              </a:rPr>
              <a:t>Ruhedruck</a:t>
            </a:r>
            <a:endParaRPr lang="fr-CH" dirty="0" smtClean="0">
              <a:latin typeface="Arial" charset="0"/>
            </a:endParaRPr>
          </a:p>
          <a:p>
            <a:pPr marL="274637" lvl="2" indent="0">
              <a:buNone/>
            </a:pPr>
            <a:r>
              <a:rPr lang="fr-CH" b="1" dirty="0" smtClean="0">
                <a:solidFill>
                  <a:srgbClr val="FF0000"/>
                </a:solidFill>
                <a:latin typeface="Arial" charset="0"/>
              </a:rPr>
              <a:t>2.5</a:t>
            </a:r>
            <a:r>
              <a:rPr lang="fr-CH" dirty="0" smtClean="0">
                <a:latin typeface="Arial" charset="0"/>
              </a:rPr>
              <a:t> bar (min)</a:t>
            </a:r>
          </a:p>
        </p:txBody>
      </p:sp>
      <p:cxnSp>
        <p:nvCxnSpPr>
          <p:cNvPr id="19" name="Connecteur droit 18"/>
          <p:cNvCxnSpPr/>
          <p:nvPr/>
        </p:nvCxnSpPr>
        <p:spPr>
          <a:xfrm>
            <a:off x="2015716" y="5877272"/>
            <a:ext cx="6192688" cy="0"/>
          </a:xfrm>
          <a:prstGeom prst="line">
            <a:avLst/>
          </a:prstGeom>
          <a:ln w="38100">
            <a:solidFill>
              <a:srgbClr val="3399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cteur en angle 39"/>
          <p:cNvCxnSpPr/>
          <p:nvPr/>
        </p:nvCxnSpPr>
        <p:spPr>
          <a:xfrm rot="10800000" flipV="1">
            <a:off x="1979712" y="5589240"/>
            <a:ext cx="720080" cy="21602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Flèche angle droit à deux pointes 1"/>
          <p:cNvSpPr/>
          <p:nvPr/>
        </p:nvSpPr>
        <p:spPr>
          <a:xfrm rot="13384671">
            <a:off x="4401653" y="3835584"/>
            <a:ext cx="1309445" cy="1342160"/>
          </a:xfrm>
          <a:prstGeom prst="leftUpArrow">
            <a:avLst>
              <a:gd name="adj1" fmla="val 7057"/>
              <a:gd name="adj2" fmla="val 22459"/>
              <a:gd name="adj3" fmla="val 25000"/>
            </a:avLst>
          </a:prstGeom>
          <a:solidFill>
            <a:schemeClr val="accent1"/>
          </a:solidFill>
          <a:ln w="12700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04770341"/>
      </p:ext>
    </p:extLst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1&quot;/&gt;&lt;partner val=&quot;61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/m_precDefault&gt;&lt;/CDefaultPrec&gt;&lt;/root&gt;"/>
  <p:tag name="THINKCELLUNDODONOTDELETE" val="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5kFsizQkysdZBzlTVp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bRfQxLWUOlqeDRQInoI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Lwe7eEokar2UIxULwh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muuNriaEai4DSHX58Zv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vPK9chE.nA_ZX4hO23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3OTdESvkWjdOqfBQnEW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5PmcOOqU6qFkykYBQnt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siOVrH0a6iZLXAPCz6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LxNwCEgkKUMKi5gbYod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K5ZLzVdUa6ykFftSKGv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gT1K4SvUevdVpXGp1tJ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Hp437Chkm1mmM1EFDa1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f6spNYc0KUFyu10RWzc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PX6veYTtEGQkwFfGHfMU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fXHW1kWUKLs9ATDQGh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ETAq3g20aeJpViTecVK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8po.KPOUa92EW_magsR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P2Twpfw0es_0Ef6GzFU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sz1C2HgUyjm0mS9ojn5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RNwVqw0Kk01Hzn0j1C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8uG0Slc7k2jfnBAh9hIX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FdTn1fmUiVf.ddxpzNW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uES4EQYkGE6DIQt1jEl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o4tr98skyYTdgad_raQ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5K2LMU5UmCzyDROhQzL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_vHq95.E2Krl_Xy04Ma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kiZa1bqEO5SQtJLvko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cIAidDe0CK2UT9hFEcH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8Dses13tUqS1yajR7o.F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u7FRle6U64Jxqp7mvuH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2FWu6gSkedwt.qosQYx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3Z3zvelkStbdeqAbjnc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BtcRW_7k.Lg7R_WbzH7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axcBrXY0O8o_zDdqgvh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r5.VZZp02vpaqtGlH72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m_IIOrskG7At0_9VXjs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5xNoK89UiMFZps9fNjD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IqYYl58U.HA2IWrFop5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O_afZWS0en2eIkfuA5C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R1MWD24UCNuV7CdDjtm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bMUvC9iEKmxF2d_zsnb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Ab6THjB0.Qx.gMKU.Mu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hbzptNhUGORQRqJt_Nq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2pyKew3kauPGjbB454W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lg_A3zpUebXoP7j18taA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aTyj5YvUaJJtxzF6WRJ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PDt2TuDUmR.8qF7emGS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Fu00gPKEGlR1HLQQREH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jjC08DV06dubSg4Oqcr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b9xXlvR0qXGT085sU3J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MDq6TeWkeMQhxGrLkuB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IaNGrYFE67xHP8GU1Ox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5kFsizQkysdZBzlTVpg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bRfQxLWUOlqeDRQInoI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Lwe7eEokar2UIxULwhW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muuNriaEai4DSHX58Zv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rvPK9chE.nA_ZX4hO23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3OTdESvkWjdOqfBQnEW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5PmcOOqU6qFkykYBQntg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siOVrH0a6iZLXAPCz6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mMjfHteEmzmQfw51hus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KJPxZmFE.gLoI03Sp3.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tmHTqR9k.GAI2I_5Tnb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JXV76UB0eSdzv2AZk3Q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rn.U7.6oUaF1O3zR_jtJ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yIFWRYqEWoNtXC4EU55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plCzs5vn0.8OltwwFLzKQ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0O8inKpkaPMDOlqXHXD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waWU0Oo0iR0NyOa8yXw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d7qwKFskywuFNf7c6mW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r5SnjbNkmCmSwVwGhOfg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mMnhcfmEu6NxvxhbUyh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Z8AZCD8UeZkUUdDQ2WT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QXonm0I0yTQJbHV98.7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2hFtJctEWP4nc.fkvld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fvJb7ZE0CwvDnTHd7a6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uHAoqpEE6Bxwqs5SIp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cFqxC72EO0j7OS.e1pe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fYx3XxPUWQYFwP5A1A9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vJ9uYDkUOKCr1flStW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1v6NOILEW69a4s4CGI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HOW_lsy062ckfi72JsG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51Mhehk0q1kDurBnQ9u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WtP3vYNEGKqOTfHqeKE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Pd80wKkE2zWgD85ujG1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tYglpG60qwabxvSLRFu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zjQEb6oEO0wZ.ll6MH5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ZPykyDLEeTmXMUWEKUF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BZACTOPUC8AEvAeo3dL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6k52bJzUygnY9vy1Qmh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7cGUXuKd0e8Li0VWgpxY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cjGV1V8USUZzQ5Qafi2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eTB_X_DUu.U4LnlId1T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fi_QJ9GE.FgrUSb0CV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YRArEh7UKbVaP5PLdd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DnPXl6L0aBUUAOCe5RF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gae8yN60Ovb_wqNKvp1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WDUjgVv0yXkNfKyWJch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2AXIAJ4katdi7F2Qs3N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Q1PN7AdUevfGMpIopSr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HaElwG0UynFNRDwZ9i_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IU40Yv6Ei_cQjpYNnbO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vEwv52XUqc0jASAF2z6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XoVaoE0SSywh4mf6kh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5P13O_XUS22f1O9GO4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m5_F3NgUOOSEVd7Wjdu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YSPa5Drk2uKbOd_ITy8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9rJ5B0Sk6TIcbbMPxxH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Z3qSY6gkEuC.p80EDCj9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e73At64EulMcqvFIJim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oeYJ4x70Ce7GZWb0zzc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2wiXgURkiu1gQLguog8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oZZmkIMkKrl5W4qOz2C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3_ifCxi0isfBjuppE_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OHqNWL6U._QAZvZ6KEk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COL5l2OEyg5GMenReJY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B.3HXqkkOXqZ5ijI2c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hqeSk_U4kielR5KtW710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53qi4t0ednie_A.PWY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XWqRyEWkk6Yc4eT3H3AW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Gk.Q_7K06L_ewkD_Ffu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Bhgp4wekmPgijkV0nRM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iZHkhXOkuz8vazoNZ.S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TLH8DVyky4qsYxWMid2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dwW36kEeE8tdV0C1IR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Uz3CXThVUyETQcLPoMT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DENdHfEKcHIBpfJJz8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bpq8.hnEqOEHzDw3vzZ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6fffcHEkOVDmrMWy95X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208LiZcUmVn.NmgP_6Y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0WO3gHRU6FQgSs_DF5F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E0rbnS60GqWS7AKyyAM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XdH7i4bUyyi3ISQ2Ei6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F93ARm.UawR6jpOiCYO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iXWyiyfzUik5vmyVaEe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mrktc1hEG3yk3IKphgT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T5YASkW0CtfSjcOQ7Xw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FNlbYOgkqw.thvIi6ex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UboUdej_kCDmiJ2ZaXP3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qWSQ0_F0qf1PTjrE3ud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68oGXD20awmirCuB5n8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POJBX2SU2unl8pQuItX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88hZSIv5UOe9U3PXpjNB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CulKUU8EqlKMbDb8XpH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ud4iaBU0O8wmMwQPxHc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8UpCQ.BsEOusXO_ZVlGo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ow06plV0uEgUr6IkmZJQ"/>
</p:tagLst>
</file>

<file path=ppt/theme/theme1.xml><?xml version="1.0" encoding="utf-8"?>
<a:theme xmlns:a="http://schemas.openxmlformats.org/drawingml/2006/main" name="présentation_PIEP">
  <a:themeElements>
    <a:clrScheme name="Staat Fribourg">
      <a:dk1>
        <a:srgbClr val="000000"/>
      </a:dk1>
      <a:lt1>
        <a:srgbClr val="FFFFFF"/>
      </a:lt1>
      <a:dk2>
        <a:srgbClr val="7F7F7F"/>
      </a:dk2>
      <a:lt2>
        <a:srgbClr val="C0C0C0"/>
      </a:lt2>
      <a:accent1>
        <a:srgbClr val="D4DADE"/>
      </a:accent1>
      <a:accent2>
        <a:srgbClr val="98ADC2"/>
      </a:accent2>
      <a:accent3>
        <a:srgbClr val="5D7FA1"/>
      </a:accent3>
      <a:accent4>
        <a:srgbClr val="4A6580"/>
      </a:accent4>
      <a:accent5>
        <a:srgbClr val="E6EAEC"/>
      </a:accent5>
      <a:accent6>
        <a:srgbClr val="899CB0"/>
      </a:accent6>
      <a:hlink>
        <a:srgbClr val="5D7FA1"/>
      </a:hlink>
      <a:folHlink>
        <a:srgbClr val="4A65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spAutoFit/>
      </a:bodyPr>
      <a:lstStyle>
        <a:defPPr>
          <a:lnSpc>
            <a:spcPts val="1900"/>
          </a:lnSpc>
          <a:spcAft>
            <a:spcPts val="600"/>
          </a:spcAft>
          <a:buClr>
            <a:srgbClr val="074EA1"/>
          </a:buClr>
          <a:defRPr sz="1600" b="1" dirty="0" err="1" smtClean="0"/>
        </a:defPPr>
      </a:lstStyle>
    </a:txDef>
  </a:objectDefaults>
  <a:extraClrSchemeLst>
    <a:extraClrScheme>
      <a:clrScheme name="FDP_Powerpointvorlage_DE_4_logos 1">
        <a:dk1>
          <a:srgbClr val="000000"/>
        </a:dk1>
        <a:lt1>
          <a:srgbClr val="FFFFFF"/>
        </a:lt1>
        <a:dk2>
          <a:srgbClr val="7F7F7F"/>
        </a:dk2>
        <a:lt2>
          <a:srgbClr val="C0C0C0"/>
        </a:lt2>
        <a:accent1>
          <a:srgbClr val="D4DADE"/>
        </a:accent1>
        <a:accent2>
          <a:srgbClr val="98ADC2"/>
        </a:accent2>
        <a:accent3>
          <a:srgbClr val="FFFFFF"/>
        </a:accent3>
        <a:accent4>
          <a:srgbClr val="000000"/>
        </a:accent4>
        <a:accent5>
          <a:srgbClr val="E6EAEC"/>
        </a:accent5>
        <a:accent6>
          <a:srgbClr val="899CB0"/>
        </a:accent6>
        <a:hlink>
          <a:srgbClr val="5D7FA1"/>
        </a:hlink>
        <a:folHlink>
          <a:srgbClr val="4A65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ésentation_PIEP</Template>
  <TotalTime>0</TotalTime>
  <Words>1343</Words>
  <Application>Microsoft Office PowerPoint</Application>
  <PresentationFormat>Affichage à l'écran (4:3)</PresentationFormat>
  <Paragraphs>363</Paragraphs>
  <Slides>34</Slides>
  <Notes>34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2</vt:i4>
      </vt:variant>
      <vt:variant>
        <vt:lpstr>Titres des diapositives</vt:lpstr>
      </vt:variant>
      <vt:variant>
        <vt:i4>34</vt:i4>
      </vt:variant>
    </vt:vector>
  </HeadingPairs>
  <TitlesOfParts>
    <vt:vector size="37" baseType="lpstr">
      <vt:lpstr>présentation_PIEP</vt:lpstr>
      <vt:lpstr>think-cell Slide</vt:lpstr>
      <vt:lpstr>Visio</vt:lpstr>
      <vt:lpstr>Amt für Lebensmittelsicherheit und Veterinärwesen (LSVW)  Die neue PTWI Wegleitung:  Plan der TrinkWasserInfrastrukturen —</vt:lpstr>
      <vt:lpstr>Plan der Trinkwasserinfrastrukturen —</vt:lpstr>
      <vt:lpstr>Komponenten der Wegleitung</vt:lpstr>
      <vt:lpstr>Wie mit dem PTWI beginnen ? (§2.3) —</vt:lpstr>
      <vt:lpstr>Ist-Zustand (A.1) —</vt:lpstr>
      <vt:lpstr>Ist-Zustand (A.1) —</vt:lpstr>
      <vt:lpstr>Ist-Zustand (A.1) —</vt:lpstr>
      <vt:lpstr>Ist-Zustand (A.2) —</vt:lpstr>
      <vt:lpstr>Ist-Zustand (A.2) —</vt:lpstr>
      <vt:lpstr>Ist-Zustand (A.2) —</vt:lpstr>
      <vt:lpstr>Ist-Zustand (A.2) —</vt:lpstr>
      <vt:lpstr>Ist-Zustand (A.2) —</vt:lpstr>
      <vt:lpstr>Ist-Zustand (A.3) —</vt:lpstr>
      <vt:lpstr>Ist-Zustand (A.4) —</vt:lpstr>
      <vt:lpstr>Ist-Zustand (A.4) —</vt:lpstr>
      <vt:lpstr>Ist-Zustand (A.5) —</vt:lpstr>
      <vt:lpstr>(Exkurs-1) —</vt:lpstr>
      <vt:lpstr>(Exkurs-2) —</vt:lpstr>
      <vt:lpstr>Bedarf (B.1) —</vt:lpstr>
      <vt:lpstr>Wasserbilanz (B.2) —</vt:lpstr>
      <vt:lpstr>Speicherbilanz (B.2) —</vt:lpstr>
      <vt:lpstr>Soll-Zustand (C.1) —</vt:lpstr>
      <vt:lpstr>Soll-Zustand (C.2) —</vt:lpstr>
      <vt:lpstr>Soll-Zustand (C.3) —</vt:lpstr>
      <vt:lpstr>Soll-Zustand (C.3) —</vt:lpstr>
      <vt:lpstr>Versorgung in Notlagen (C.4) —</vt:lpstr>
      <vt:lpstr>Erwartete Resultate (D) —</vt:lpstr>
      <vt:lpstr>Erwartete Resultate (D) —</vt:lpstr>
      <vt:lpstr>Erwartete Resultate (D) —</vt:lpstr>
      <vt:lpstr>Erwartete Resultate (D) —</vt:lpstr>
      <vt:lpstr>Koordination —</vt:lpstr>
      <vt:lpstr>Parallel zum PTWI… —</vt:lpstr>
      <vt:lpstr>Parallel zum PTWI… —</vt:lpstr>
      <vt:lpstr>Take-home message —</vt:lpstr>
    </vt:vector>
  </TitlesOfParts>
  <Company>Etat de Fribour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ervice de la sécurité alimentaire et des affaires vétérinaires  La nouvelle directive PIEP: Plan des Infrastructures d’Eau Potable  —</dc:title>
  <dc:creator>Meienberger Gil</dc:creator>
  <cp:lastModifiedBy>Meienberger Gil</cp:lastModifiedBy>
  <cp:revision>672</cp:revision>
  <cp:lastPrinted>2014-10-02T11:37:37Z</cp:lastPrinted>
  <dcterms:created xsi:type="dcterms:W3CDTF">2014-08-19T08:03:39Z</dcterms:created>
  <dcterms:modified xsi:type="dcterms:W3CDTF">2014-10-06T09:23:57Z</dcterms:modified>
</cp:coreProperties>
</file>